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17"/>
  </p:notesMasterIdLst>
  <p:handoutMasterIdLst>
    <p:handoutMasterId r:id="rId18"/>
  </p:handoutMasterIdLst>
  <p:sldIdLst>
    <p:sldId id="256" r:id="rId6"/>
    <p:sldId id="257" r:id="rId7"/>
    <p:sldId id="260" r:id="rId8"/>
    <p:sldId id="262" r:id="rId9"/>
    <p:sldId id="265" r:id="rId10"/>
    <p:sldId id="258" r:id="rId11"/>
    <p:sldId id="259" r:id="rId12"/>
    <p:sldId id="266" r:id="rId13"/>
    <p:sldId id="267" r:id="rId14"/>
    <p:sldId id="268" r:id="rId15"/>
    <p:sldId id="269" r:id="rId16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0037A8-364E-4711-AE82-523E0BDA7E50}" v="214" dt="2023-05-23T17:42:26.37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3" autoAdjust="0"/>
    <p:restoredTop sz="94660"/>
  </p:normalViewPr>
  <p:slideViewPr>
    <p:cSldViewPr snapToGrid="0">
      <p:cViewPr varScale="1">
        <p:scale>
          <a:sx n="82" d="100"/>
          <a:sy n="82" d="100"/>
        </p:scale>
        <p:origin x="55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iri Marie Aamodt" userId="91f91055-7576-44c0-87b5-30a6c57d9b33" providerId="ADAL" clId="{4A0037A8-364E-4711-AE82-523E0BDA7E50}"/>
    <pc:docChg chg="undo custSel addSld delSld modSld sldOrd">
      <pc:chgData name="Siri Marie Aamodt" userId="91f91055-7576-44c0-87b5-30a6c57d9b33" providerId="ADAL" clId="{4A0037A8-364E-4711-AE82-523E0BDA7E50}" dt="2023-05-30T09:09:26.634" v="5853" actId="20577"/>
      <pc:docMkLst>
        <pc:docMk/>
      </pc:docMkLst>
      <pc:sldChg chg="modSp mod">
        <pc:chgData name="Siri Marie Aamodt" userId="91f91055-7576-44c0-87b5-30a6c57d9b33" providerId="ADAL" clId="{4A0037A8-364E-4711-AE82-523E0BDA7E50}" dt="2023-05-02T07:27:08.872" v="173" actId="20577"/>
        <pc:sldMkLst>
          <pc:docMk/>
          <pc:sldMk cId="1336131846" sldId="256"/>
        </pc:sldMkLst>
        <pc:spChg chg="mod">
          <ac:chgData name="Siri Marie Aamodt" userId="91f91055-7576-44c0-87b5-30a6c57d9b33" providerId="ADAL" clId="{4A0037A8-364E-4711-AE82-523E0BDA7E50}" dt="2023-05-02T07:26:52.711" v="104" actId="20577"/>
          <ac:spMkLst>
            <pc:docMk/>
            <pc:sldMk cId="1336131846" sldId="256"/>
            <ac:spMk id="13" creationId="{9EB75878-E9BE-6CFD-8E63-BA93D64A7F27}"/>
          </ac:spMkLst>
        </pc:spChg>
        <pc:spChg chg="mod">
          <ac:chgData name="Siri Marie Aamodt" userId="91f91055-7576-44c0-87b5-30a6c57d9b33" providerId="ADAL" clId="{4A0037A8-364E-4711-AE82-523E0BDA7E50}" dt="2023-05-02T07:27:08.872" v="173" actId="20577"/>
          <ac:spMkLst>
            <pc:docMk/>
            <pc:sldMk cId="1336131846" sldId="256"/>
            <ac:spMk id="19" creationId="{000F2CA8-0297-22D4-991B-54FECD14FF6E}"/>
          </ac:spMkLst>
        </pc:spChg>
      </pc:sldChg>
      <pc:sldChg chg="modSp mod setBg">
        <pc:chgData name="Siri Marie Aamodt" userId="91f91055-7576-44c0-87b5-30a6c57d9b33" providerId="ADAL" clId="{4A0037A8-364E-4711-AE82-523E0BDA7E50}" dt="2023-05-23T17:27:49.804" v="4468" actId="948"/>
        <pc:sldMkLst>
          <pc:docMk/>
          <pc:sldMk cId="3126476704" sldId="257"/>
        </pc:sldMkLst>
        <pc:spChg chg="mod">
          <ac:chgData name="Siri Marie Aamodt" userId="91f91055-7576-44c0-87b5-30a6c57d9b33" providerId="ADAL" clId="{4A0037A8-364E-4711-AE82-523E0BDA7E50}" dt="2023-05-23T17:27:49.744" v="4466" actId="207"/>
          <ac:spMkLst>
            <pc:docMk/>
            <pc:sldMk cId="3126476704" sldId="257"/>
            <ac:spMk id="15" creationId="{34F5E28D-C6B7-C164-FB51-4005BDD62ECC}"/>
          </ac:spMkLst>
        </pc:spChg>
        <pc:spChg chg="mod">
          <ac:chgData name="Siri Marie Aamodt" userId="91f91055-7576-44c0-87b5-30a6c57d9b33" providerId="ADAL" clId="{4A0037A8-364E-4711-AE82-523E0BDA7E50}" dt="2023-05-23T17:27:49.804" v="4468" actId="948"/>
          <ac:spMkLst>
            <pc:docMk/>
            <pc:sldMk cId="3126476704" sldId="257"/>
            <ac:spMk id="16" creationId="{5A369F34-E867-0E96-E698-C11834B1D0B0}"/>
          </ac:spMkLst>
        </pc:spChg>
      </pc:sldChg>
      <pc:sldChg chg="modSp mod setBg">
        <pc:chgData name="Siri Marie Aamodt" userId="91f91055-7576-44c0-87b5-30a6c57d9b33" providerId="ADAL" clId="{4A0037A8-364E-4711-AE82-523E0BDA7E50}" dt="2023-05-23T17:28:19.618" v="4558" actId="948"/>
        <pc:sldMkLst>
          <pc:docMk/>
          <pc:sldMk cId="1414415440" sldId="258"/>
        </pc:sldMkLst>
        <pc:spChg chg="mod">
          <ac:chgData name="Siri Marie Aamodt" userId="91f91055-7576-44c0-87b5-30a6c57d9b33" providerId="ADAL" clId="{4A0037A8-364E-4711-AE82-523E0BDA7E50}" dt="2023-05-23T17:28:19.526" v="4553" actId="948"/>
          <ac:spMkLst>
            <pc:docMk/>
            <pc:sldMk cId="1414415440" sldId="258"/>
            <ac:spMk id="2" creationId="{2DB3F5C9-D703-5A14-4DA8-6C5AFAFC48A9}"/>
          </ac:spMkLst>
        </pc:spChg>
        <pc:spChg chg="mod">
          <ac:chgData name="Siri Marie Aamodt" userId="91f91055-7576-44c0-87b5-30a6c57d9b33" providerId="ADAL" clId="{4A0037A8-364E-4711-AE82-523E0BDA7E50}" dt="2023-05-23T17:28:19.538" v="4555" actId="948"/>
          <ac:spMkLst>
            <pc:docMk/>
            <pc:sldMk cId="1414415440" sldId="258"/>
            <ac:spMk id="3" creationId="{7C65E5BD-4D42-2CA5-44FA-1F0217624EDB}"/>
          </ac:spMkLst>
        </pc:spChg>
        <pc:spChg chg="mod">
          <ac:chgData name="Siri Marie Aamodt" userId="91f91055-7576-44c0-87b5-30a6c57d9b33" providerId="ADAL" clId="{4A0037A8-364E-4711-AE82-523E0BDA7E50}" dt="2023-05-23T17:28:19.543" v="4556" actId="207"/>
          <ac:spMkLst>
            <pc:docMk/>
            <pc:sldMk cId="1414415440" sldId="258"/>
            <ac:spMk id="4" creationId="{841ECE35-62F8-1261-DD86-5F937F415E7D}"/>
          </ac:spMkLst>
        </pc:spChg>
        <pc:spChg chg="mod">
          <ac:chgData name="Siri Marie Aamodt" userId="91f91055-7576-44c0-87b5-30a6c57d9b33" providerId="ADAL" clId="{4A0037A8-364E-4711-AE82-523E0BDA7E50}" dt="2023-05-23T17:28:19.618" v="4558" actId="948"/>
          <ac:spMkLst>
            <pc:docMk/>
            <pc:sldMk cId="1414415440" sldId="258"/>
            <ac:spMk id="5" creationId="{082574A0-7152-EE9E-F823-7448992AB450}"/>
          </ac:spMkLst>
        </pc:spChg>
      </pc:sldChg>
      <pc:sldChg chg="modSp mod ord setBg">
        <pc:chgData name="Siri Marie Aamodt" userId="91f91055-7576-44c0-87b5-30a6c57d9b33" providerId="ADAL" clId="{4A0037A8-364E-4711-AE82-523E0BDA7E50}" dt="2023-05-23T17:42:32.970" v="4589" actId="20577"/>
        <pc:sldMkLst>
          <pc:docMk/>
          <pc:sldMk cId="2464395369" sldId="260"/>
        </pc:sldMkLst>
        <pc:spChg chg="mod">
          <ac:chgData name="Siri Marie Aamodt" userId="91f91055-7576-44c0-87b5-30a6c57d9b33" providerId="ADAL" clId="{4A0037A8-364E-4711-AE82-523E0BDA7E50}" dt="2023-05-23T17:28:11.169" v="4523" actId="948"/>
          <ac:spMkLst>
            <pc:docMk/>
            <pc:sldMk cId="2464395369" sldId="260"/>
            <ac:spMk id="2" creationId="{CB757394-9587-4C4E-819B-EC0F06DB505B}"/>
          </ac:spMkLst>
        </pc:spChg>
        <pc:spChg chg="mod">
          <ac:chgData name="Siri Marie Aamodt" userId="91f91055-7576-44c0-87b5-30a6c57d9b33" providerId="ADAL" clId="{4A0037A8-364E-4711-AE82-523E0BDA7E50}" dt="2023-05-23T17:28:11.178" v="4525" actId="948"/>
          <ac:spMkLst>
            <pc:docMk/>
            <pc:sldMk cId="2464395369" sldId="260"/>
            <ac:spMk id="3" creationId="{C924F146-F501-AF33-9D3D-9D000EB01419}"/>
          </ac:spMkLst>
        </pc:spChg>
        <pc:spChg chg="mod">
          <ac:chgData name="Siri Marie Aamodt" userId="91f91055-7576-44c0-87b5-30a6c57d9b33" providerId="ADAL" clId="{4A0037A8-364E-4711-AE82-523E0BDA7E50}" dt="2023-05-23T17:28:11.182" v="4526" actId="207"/>
          <ac:spMkLst>
            <pc:docMk/>
            <pc:sldMk cId="2464395369" sldId="260"/>
            <ac:spMk id="4" creationId="{F57E6B3A-B4FE-7734-3333-6B4057918FF0}"/>
          </ac:spMkLst>
        </pc:spChg>
        <pc:spChg chg="mod">
          <ac:chgData name="Siri Marie Aamodt" userId="91f91055-7576-44c0-87b5-30a6c57d9b33" providerId="ADAL" clId="{4A0037A8-364E-4711-AE82-523E0BDA7E50}" dt="2023-05-23T17:42:32.970" v="4589" actId="20577"/>
          <ac:spMkLst>
            <pc:docMk/>
            <pc:sldMk cId="2464395369" sldId="260"/>
            <ac:spMk id="5" creationId="{DEC2BDBB-1233-935D-EFB3-E7BE63DDD3C6}"/>
          </ac:spMkLst>
        </pc:spChg>
      </pc:sldChg>
      <pc:sldChg chg="del">
        <pc:chgData name="Siri Marie Aamodt" userId="91f91055-7576-44c0-87b5-30a6c57d9b33" providerId="ADAL" clId="{4A0037A8-364E-4711-AE82-523E0BDA7E50}" dt="2023-05-03T07:46:53.599" v="317" actId="47"/>
        <pc:sldMkLst>
          <pc:docMk/>
          <pc:sldMk cId="2458285632" sldId="261"/>
        </pc:sldMkLst>
      </pc:sldChg>
      <pc:sldChg chg="modSp mod ord">
        <pc:chgData name="Siri Marie Aamodt" userId="91f91055-7576-44c0-87b5-30a6c57d9b33" providerId="ADAL" clId="{4A0037A8-364E-4711-AE82-523E0BDA7E50}" dt="2023-05-23T17:22:56.763" v="4257" actId="20577"/>
        <pc:sldMkLst>
          <pc:docMk/>
          <pc:sldMk cId="1057181410" sldId="262"/>
        </pc:sldMkLst>
        <pc:graphicFrameChg chg="mod">
          <ac:chgData name="Siri Marie Aamodt" userId="91f91055-7576-44c0-87b5-30a6c57d9b33" providerId="ADAL" clId="{4A0037A8-364E-4711-AE82-523E0BDA7E50}" dt="2023-05-23T17:22:56.763" v="4257" actId="20577"/>
          <ac:graphicFrameMkLst>
            <pc:docMk/>
            <pc:sldMk cId="1057181410" sldId="262"/>
            <ac:graphicFrameMk id="7" creationId="{4721159D-67CC-7FBB-2B9B-AF6DEA608558}"/>
          </ac:graphicFrameMkLst>
        </pc:graphicFrameChg>
      </pc:sldChg>
      <pc:sldChg chg="modSp add del mod ord">
        <pc:chgData name="Siri Marie Aamodt" userId="91f91055-7576-44c0-87b5-30a6c57d9b33" providerId="ADAL" clId="{4A0037A8-364E-4711-AE82-523E0BDA7E50}" dt="2023-05-23T17:27:07.436" v="4409" actId="47"/>
        <pc:sldMkLst>
          <pc:docMk/>
          <pc:sldMk cId="3462217842" sldId="263"/>
        </pc:sldMkLst>
        <pc:spChg chg="mod">
          <ac:chgData name="Siri Marie Aamodt" userId="91f91055-7576-44c0-87b5-30a6c57d9b33" providerId="ADAL" clId="{4A0037A8-364E-4711-AE82-523E0BDA7E50}" dt="2023-05-23T17:07:04.368" v="3196" actId="20577"/>
          <ac:spMkLst>
            <pc:docMk/>
            <pc:sldMk cId="3462217842" sldId="263"/>
            <ac:spMk id="5" creationId="{BC865D00-5338-FE85-0870-D8FF8AD68E46}"/>
          </ac:spMkLst>
        </pc:spChg>
      </pc:sldChg>
      <pc:sldChg chg="addSp delSp modSp new del mod">
        <pc:chgData name="Siri Marie Aamodt" userId="91f91055-7576-44c0-87b5-30a6c57d9b33" providerId="ADAL" clId="{4A0037A8-364E-4711-AE82-523E0BDA7E50}" dt="2023-05-05T10:08:37.548" v="1059" actId="47"/>
        <pc:sldMkLst>
          <pc:docMk/>
          <pc:sldMk cId="2294056535" sldId="264"/>
        </pc:sldMkLst>
        <pc:spChg chg="mod">
          <ac:chgData name="Siri Marie Aamodt" userId="91f91055-7576-44c0-87b5-30a6c57d9b33" providerId="ADAL" clId="{4A0037A8-364E-4711-AE82-523E0BDA7E50}" dt="2023-05-05T09:53:34.590" v="399" actId="20577"/>
          <ac:spMkLst>
            <pc:docMk/>
            <pc:sldMk cId="2294056535" sldId="264"/>
            <ac:spMk id="4" creationId="{0588BF83-F175-627C-E686-B91432F8D7ED}"/>
          </ac:spMkLst>
        </pc:spChg>
        <pc:spChg chg="mod">
          <ac:chgData name="Siri Marie Aamodt" userId="91f91055-7576-44c0-87b5-30a6c57d9b33" providerId="ADAL" clId="{4A0037A8-364E-4711-AE82-523E0BDA7E50}" dt="2023-05-05T09:56:11.579" v="584" actId="114"/>
          <ac:spMkLst>
            <pc:docMk/>
            <pc:sldMk cId="2294056535" sldId="264"/>
            <ac:spMk id="5" creationId="{ECD4D84B-11C2-C3BE-C68C-81BCD6A59C70}"/>
          </ac:spMkLst>
        </pc:spChg>
        <pc:spChg chg="add del">
          <ac:chgData name="Siri Marie Aamodt" userId="91f91055-7576-44c0-87b5-30a6c57d9b33" providerId="ADAL" clId="{4A0037A8-364E-4711-AE82-523E0BDA7E50}" dt="2023-05-05T09:54:11.303" v="419"/>
          <ac:spMkLst>
            <pc:docMk/>
            <pc:sldMk cId="2294056535" sldId="264"/>
            <ac:spMk id="6" creationId="{DF720220-3F59-5897-E35B-538517146C5A}"/>
          </ac:spMkLst>
        </pc:spChg>
        <pc:spChg chg="add del mod">
          <ac:chgData name="Siri Marie Aamodt" userId="91f91055-7576-44c0-87b5-30a6c57d9b33" providerId="ADAL" clId="{4A0037A8-364E-4711-AE82-523E0BDA7E50}" dt="2023-05-05T09:55:56.420" v="578" actId="478"/>
          <ac:spMkLst>
            <pc:docMk/>
            <pc:sldMk cId="2294056535" sldId="264"/>
            <ac:spMk id="7" creationId="{2123415E-2435-245F-0429-FEC2255DFC81}"/>
          </ac:spMkLst>
        </pc:spChg>
        <pc:spChg chg="add del mod">
          <ac:chgData name="Siri Marie Aamodt" userId="91f91055-7576-44c0-87b5-30a6c57d9b33" providerId="ADAL" clId="{4A0037A8-364E-4711-AE82-523E0BDA7E50}" dt="2023-05-05T09:55:50.503" v="576"/>
          <ac:spMkLst>
            <pc:docMk/>
            <pc:sldMk cId="2294056535" sldId="264"/>
            <ac:spMk id="8" creationId="{B9BA29F3-76D0-1578-F1DC-A5D8C6B960D4}"/>
          </ac:spMkLst>
        </pc:spChg>
      </pc:sldChg>
      <pc:sldChg chg="addSp delSp modSp new mod ord">
        <pc:chgData name="Siri Marie Aamodt" userId="91f91055-7576-44c0-87b5-30a6c57d9b33" providerId="ADAL" clId="{4A0037A8-364E-4711-AE82-523E0BDA7E50}" dt="2023-05-24T07:01:34.127" v="4693" actId="14734"/>
        <pc:sldMkLst>
          <pc:docMk/>
          <pc:sldMk cId="1621353260" sldId="265"/>
        </pc:sldMkLst>
        <pc:spChg chg="mod">
          <ac:chgData name="Siri Marie Aamodt" userId="91f91055-7576-44c0-87b5-30a6c57d9b33" providerId="ADAL" clId="{4A0037A8-364E-4711-AE82-523E0BDA7E50}" dt="2023-05-15T12:47:02.055" v="2163" actId="1076"/>
          <ac:spMkLst>
            <pc:docMk/>
            <pc:sldMk cId="1621353260" sldId="265"/>
            <ac:spMk id="2" creationId="{46C95432-2111-54D8-5AA6-8E9C0ECBB25D}"/>
          </ac:spMkLst>
        </pc:spChg>
        <pc:spChg chg="mod">
          <ac:chgData name="Siri Marie Aamodt" userId="91f91055-7576-44c0-87b5-30a6c57d9b33" providerId="ADAL" clId="{4A0037A8-364E-4711-AE82-523E0BDA7E50}" dt="2023-05-23T17:23:23.422" v="4271" actId="20577"/>
          <ac:spMkLst>
            <pc:docMk/>
            <pc:sldMk cId="1621353260" sldId="265"/>
            <ac:spMk id="4" creationId="{7C539D3F-4298-1DB8-D60A-96C8FB2C842E}"/>
          </ac:spMkLst>
        </pc:spChg>
        <pc:spChg chg="del">
          <ac:chgData name="Siri Marie Aamodt" userId="91f91055-7576-44c0-87b5-30a6c57d9b33" providerId="ADAL" clId="{4A0037A8-364E-4711-AE82-523E0BDA7E50}" dt="2023-05-05T09:56:47.764" v="586" actId="3680"/>
          <ac:spMkLst>
            <pc:docMk/>
            <pc:sldMk cId="1621353260" sldId="265"/>
            <ac:spMk id="5" creationId="{E6CDDAEE-3B9F-E033-328C-F5167960563B}"/>
          </ac:spMkLst>
        </pc:spChg>
        <pc:graphicFrameChg chg="add mod ord modGraphic">
          <ac:chgData name="Siri Marie Aamodt" userId="91f91055-7576-44c0-87b5-30a6c57d9b33" providerId="ADAL" clId="{4A0037A8-364E-4711-AE82-523E0BDA7E50}" dt="2023-05-24T07:01:34.127" v="4693" actId="14734"/>
          <ac:graphicFrameMkLst>
            <pc:docMk/>
            <pc:sldMk cId="1621353260" sldId="265"/>
            <ac:graphicFrameMk id="6" creationId="{4C48791B-618A-01DD-4DD1-7CD59AAB2E1A}"/>
          </ac:graphicFrameMkLst>
        </pc:graphicFrameChg>
      </pc:sldChg>
      <pc:sldChg chg="addSp delSp modSp new mod ord setBg modClrScheme chgLayout">
        <pc:chgData name="Siri Marie Aamodt" userId="91f91055-7576-44c0-87b5-30a6c57d9b33" providerId="ADAL" clId="{4A0037A8-364E-4711-AE82-523E0BDA7E50}" dt="2023-05-23T17:07:20.111" v="3198"/>
        <pc:sldMkLst>
          <pc:docMk/>
          <pc:sldMk cId="359227232" sldId="266"/>
        </pc:sldMkLst>
        <pc:spChg chg="mod ord">
          <ac:chgData name="Siri Marie Aamodt" userId="91f91055-7576-44c0-87b5-30a6c57d9b33" providerId="ADAL" clId="{4A0037A8-364E-4711-AE82-523E0BDA7E50}" dt="2023-05-15T12:00:29.897" v="1977" actId="948"/>
          <ac:spMkLst>
            <pc:docMk/>
            <pc:sldMk cId="359227232" sldId="266"/>
            <ac:spMk id="2" creationId="{A7D793A9-F4E1-B184-769B-CD34D2F6CAEB}"/>
          </ac:spMkLst>
        </pc:spChg>
        <pc:spChg chg="mod ord">
          <ac:chgData name="Siri Marie Aamodt" userId="91f91055-7576-44c0-87b5-30a6c57d9b33" providerId="ADAL" clId="{4A0037A8-364E-4711-AE82-523E0BDA7E50}" dt="2023-05-15T12:00:29.899" v="1979" actId="948"/>
          <ac:spMkLst>
            <pc:docMk/>
            <pc:sldMk cId="359227232" sldId="266"/>
            <ac:spMk id="3" creationId="{96CAFB31-4AE5-0D00-82D4-CDFEA21F922C}"/>
          </ac:spMkLst>
        </pc:spChg>
        <pc:spChg chg="mod ord">
          <ac:chgData name="Siri Marie Aamodt" userId="91f91055-7576-44c0-87b5-30a6c57d9b33" providerId="ADAL" clId="{4A0037A8-364E-4711-AE82-523E0BDA7E50}" dt="2023-05-15T12:00:29.901" v="1980" actId="207"/>
          <ac:spMkLst>
            <pc:docMk/>
            <pc:sldMk cId="359227232" sldId="266"/>
            <ac:spMk id="4" creationId="{ED72D01E-4B62-BCC4-44D5-A59BAE9F9E2F}"/>
          </ac:spMkLst>
        </pc:spChg>
        <pc:spChg chg="del mod ord">
          <ac:chgData name="Siri Marie Aamodt" userId="91f91055-7576-44c0-87b5-30a6c57d9b33" providerId="ADAL" clId="{4A0037A8-364E-4711-AE82-523E0BDA7E50}" dt="2023-05-15T11:55:15.655" v="1332" actId="700"/>
          <ac:spMkLst>
            <pc:docMk/>
            <pc:sldMk cId="359227232" sldId="266"/>
            <ac:spMk id="5" creationId="{7BC8B999-BB0D-0E9F-9DD3-457ED8E47871}"/>
          </ac:spMkLst>
        </pc:spChg>
        <pc:spChg chg="add mod ord">
          <ac:chgData name="Siri Marie Aamodt" userId="91f91055-7576-44c0-87b5-30a6c57d9b33" providerId="ADAL" clId="{4A0037A8-364E-4711-AE82-523E0BDA7E50}" dt="2023-05-15T12:00:29.926" v="1990" actId="948"/>
          <ac:spMkLst>
            <pc:docMk/>
            <pc:sldMk cId="359227232" sldId="266"/>
            <ac:spMk id="6" creationId="{6BE94C10-3BDD-F709-133D-17056D185AB8}"/>
          </ac:spMkLst>
        </pc:spChg>
        <pc:spChg chg="add mod ord">
          <ac:chgData name="Siri Marie Aamodt" userId="91f91055-7576-44c0-87b5-30a6c57d9b33" providerId="ADAL" clId="{4A0037A8-364E-4711-AE82-523E0BDA7E50}" dt="2023-05-15T12:00:29.914" v="1986" actId="948"/>
          <ac:spMkLst>
            <pc:docMk/>
            <pc:sldMk cId="359227232" sldId="266"/>
            <ac:spMk id="7" creationId="{4B7639B3-E172-8B83-59E4-5F5C49F04FB4}"/>
          </ac:spMkLst>
        </pc:spChg>
        <pc:spChg chg="add del mod ord">
          <ac:chgData name="Siri Marie Aamodt" userId="91f91055-7576-44c0-87b5-30a6c57d9b33" providerId="ADAL" clId="{4A0037A8-364E-4711-AE82-523E0BDA7E50}" dt="2023-05-15T11:55:54.916" v="1412" actId="700"/>
          <ac:spMkLst>
            <pc:docMk/>
            <pc:sldMk cId="359227232" sldId="266"/>
            <ac:spMk id="8" creationId="{4E9FFB53-B9BC-4E5B-00BE-850F3B31F07D}"/>
          </ac:spMkLst>
        </pc:spChg>
        <pc:spChg chg="add del mod ord">
          <ac:chgData name="Siri Marie Aamodt" userId="91f91055-7576-44c0-87b5-30a6c57d9b33" providerId="ADAL" clId="{4A0037A8-364E-4711-AE82-523E0BDA7E50}" dt="2023-05-15T11:55:54.916" v="1412" actId="700"/>
          <ac:spMkLst>
            <pc:docMk/>
            <pc:sldMk cId="359227232" sldId="266"/>
            <ac:spMk id="9" creationId="{3CAEE2A8-EEB8-AD60-5EFF-430F8C1D168B}"/>
          </ac:spMkLst>
        </pc:spChg>
        <pc:spChg chg="add del mod ord">
          <ac:chgData name="Siri Marie Aamodt" userId="91f91055-7576-44c0-87b5-30a6c57d9b33" providerId="ADAL" clId="{4A0037A8-364E-4711-AE82-523E0BDA7E50}" dt="2023-05-15T11:55:54.916" v="1412" actId="700"/>
          <ac:spMkLst>
            <pc:docMk/>
            <pc:sldMk cId="359227232" sldId="266"/>
            <ac:spMk id="10" creationId="{3B6515D7-7CD4-CBA2-ECFC-489A08B4FC5E}"/>
          </ac:spMkLst>
        </pc:spChg>
        <pc:spChg chg="add mod ord">
          <ac:chgData name="Siri Marie Aamodt" userId="91f91055-7576-44c0-87b5-30a6c57d9b33" providerId="ADAL" clId="{4A0037A8-364E-4711-AE82-523E0BDA7E50}" dt="2023-05-15T12:00:29.902" v="1982" actId="948"/>
          <ac:spMkLst>
            <pc:docMk/>
            <pc:sldMk cId="359227232" sldId="266"/>
            <ac:spMk id="11" creationId="{0AE134C8-5899-93A7-B869-206AAB1B11EE}"/>
          </ac:spMkLst>
        </pc:spChg>
        <pc:spChg chg="add del mod ord">
          <ac:chgData name="Siri Marie Aamodt" userId="91f91055-7576-44c0-87b5-30a6c57d9b33" providerId="ADAL" clId="{4A0037A8-364E-4711-AE82-523E0BDA7E50}" dt="2023-05-15T11:56:04.239" v="1413" actId="478"/>
          <ac:spMkLst>
            <pc:docMk/>
            <pc:sldMk cId="359227232" sldId="266"/>
            <ac:spMk id="12" creationId="{1CA34472-94E0-E967-A9F9-7EDC8BCAC222}"/>
          </ac:spMkLst>
        </pc:spChg>
        <pc:spChg chg="add del mod ord">
          <ac:chgData name="Siri Marie Aamodt" userId="91f91055-7576-44c0-87b5-30a6c57d9b33" providerId="ADAL" clId="{4A0037A8-364E-4711-AE82-523E0BDA7E50}" dt="2023-05-15T11:56:04.239" v="1413" actId="478"/>
          <ac:spMkLst>
            <pc:docMk/>
            <pc:sldMk cId="359227232" sldId="266"/>
            <ac:spMk id="13" creationId="{A4EDDDE4-E86B-5E1F-4B60-2097F9E418B7}"/>
          </ac:spMkLst>
        </pc:spChg>
        <pc:spChg chg="add del mod ord">
          <ac:chgData name="Siri Marie Aamodt" userId="91f91055-7576-44c0-87b5-30a6c57d9b33" providerId="ADAL" clId="{4A0037A8-364E-4711-AE82-523E0BDA7E50}" dt="2023-05-15T11:56:04.239" v="1413" actId="478"/>
          <ac:spMkLst>
            <pc:docMk/>
            <pc:sldMk cId="359227232" sldId="266"/>
            <ac:spMk id="14" creationId="{2F397634-D682-BAA8-1A79-26080A1614D3}"/>
          </ac:spMkLst>
        </pc:spChg>
        <pc:spChg chg="add mod ord">
          <ac:chgData name="Siri Marie Aamodt" userId="91f91055-7576-44c0-87b5-30a6c57d9b33" providerId="ADAL" clId="{4A0037A8-364E-4711-AE82-523E0BDA7E50}" dt="2023-05-15T12:00:29.910" v="1984" actId="948"/>
          <ac:spMkLst>
            <pc:docMk/>
            <pc:sldMk cId="359227232" sldId="266"/>
            <ac:spMk id="15" creationId="{1562B089-B132-7222-4926-9F959036D7EB}"/>
          </ac:spMkLst>
        </pc:spChg>
        <pc:spChg chg="add mod ord">
          <ac:chgData name="Siri Marie Aamodt" userId="91f91055-7576-44c0-87b5-30a6c57d9b33" providerId="ADAL" clId="{4A0037A8-364E-4711-AE82-523E0BDA7E50}" dt="2023-05-15T12:00:29.925" v="1988" actId="948"/>
          <ac:spMkLst>
            <pc:docMk/>
            <pc:sldMk cId="359227232" sldId="266"/>
            <ac:spMk id="16" creationId="{48C548E0-543C-0727-C8B3-3B4F23817313}"/>
          </ac:spMkLst>
        </pc:spChg>
        <pc:spChg chg="add mod ord">
          <ac:chgData name="Siri Marie Aamodt" userId="91f91055-7576-44c0-87b5-30a6c57d9b33" providerId="ADAL" clId="{4A0037A8-364E-4711-AE82-523E0BDA7E50}" dt="2023-05-23T15:56:58.145" v="2332" actId="14100"/>
          <ac:spMkLst>
            <pc:docMk/>
            <pc:sldMk cId="359227232" sldId="266"/>
            <ac:spMk id="17" creationId="{CA0FAB26-CDC4-65F4-B38C-3DC6D9C7B5CB}"/>
          </ac:spMkLst>
        </pc:spChg>
      </pc:sldChg>
      <pc:sldChg chg="addSp delSp modSp new mod setBg modClrScheme chgLayout">
        <pc:chgData name="Siri Marie Aamodt" userId="91f91055-7576-44c0-87b5-30a6c57d9b33" providerId="ADAL" clId="{4A0037A8-364E-4711-AE82-523E0BDA7E50}" dt="2023-05-24T07:32:16.563" v="4737" actId="5793"/>
        <pc:sldMkLst>
          <pc:docMk/>
          <pc:sldMk cId="1013735377" sldId="267"/>
        </pc:sldMkLst>
        <pc:spChg chg="mod ord">
          <ac:chgData name="Siri Marie Aamodt" userId="91f91055-7576-44c0-87b5-30a6c57d9b33" providerId="ADAL" clId="{4A0037A8-364E-4711-AE82-523E0BDA7E50}" dt="2023-05-23T17:22:33.914" v="4237" actId="948"/>
          <ac:spMkLst>
            <pc:docMk/>
            <pc:sldMk cId="1013735377" sldId="267"/>
            <ac:spMk id="2" creationId="{C8D6A8A3-B3D6-7559-A252-C4C7DB9F1373}"/>
          </ac:spMkLst>
        </pc:spChg>
        <pc:spChg chg="mod ord">
          <ac:chgData name="Siri Marie Aamodt" userId="91f91055-7576-44c0-87b5-30a6c57d9b33" providerId="ADAL" clId="{4A0037A8-364E-4711-AE82-523E0BDA7E50}" dt="2023-05-23T17:22:33.924" v="4239" actId="948"/>
          <ac:spMkLst>
            <pc:docMk/>
            <pc:sldMk cId="1013735377" sldId="267"/>
            <ac:spMk id="3" creationId="{2D990E20-ACFA-B070-A7A5-B4175D2CFB29}"/>
          </ac:spMkLst>
        </pc:spChg>
        <pc:spChg chg="add mod ord">
          <ac:chgData name="Siri Marie Aamodt" userId="91f91055-7576-44c0-87b5-30a6c57d9b33" providerId="ADAL" clId="{4A0037A8-364E-4711-AE82-523E0BDA7E50}" dt="2023-05-23T17:22:34.033" v="4250" actId="948"/>
          <ac:spMkLst>
            <pc:docMk/>
            <pc:sldMk cId="1013735377" sldId="267"/>
            <ac:spMk id="4" creationId="{397B9D3B-F4A0-5B34-8BEE-92D4114BCF72}"/>
          </ac:spMkLst>
        </pc:spChg>
        <pc:spChg chg="del mod ord">
          <ac:chgData name="Siri Marie Aamodt" userId="91f91055-7576-44c0-87b5-30a6c57d9b33" providerId="ADAL" clId="{4A0037A8-364E-4711-AE82-523E0BDA7E50}" dt="2023-05-15T12:41:39.994" v="1994" actId="700"/>
          <ac:spMkLst>
            <pc:docMk/>
            <pc:sldMk cId="1013735377" sldId="267"/>
            <ac:spMk id="4" creationId="{BD68136B-5FD9-B308-E773-1B4D84F94C60}"/>
          </ac:spMkLst>
        </pc:spChg>
        <pc:spChg chg="del">
          <ac:chgData name="Siri Marie Aamodt" userId="91f91055-7576-44c0-87b5-30a6c57d9b33" providerId="ADAL" clId="{4A0037A8-364E-4711-AE82-523E0BDA7E50}" dt="2023-05-15T12:41:39.994" v="1994" actId="700"/>
          <ac:spMkLst>
            <pc:docMk/>
            <pc:sldMk cId="1013735377" sldId="267"/>
            <ac:spMk id="5" creationId="{199E6048-D4E4-F9D7-746F-85FD4D1BF9CE}"/>
          </ac:spMkLst>
        </pc:spChg>
        <pc:spChg chg="add mod ord">
          <ac:chgData name="Siri Marie Aamodt" userId="91f91055-7576-44c0-87b5-30a6c57d9b33" providerId="ADAL" clId="{4A0037A8-364E-4711-AE82-523E0BDA7E50}" dt="2023-05-23T17:22:33.988" v="4246" actId="948"/>
          <ac:spMkLst>
            <pc:docMk/>
            <pc:sldMk cId="1013735377" sldId="267"/>
            <ac:spMk id="5" creationId="{566DB4EB-45F1-A4BD-4EF3-A9E7E15C2ABB}"/>
          </ac:spMkLst>
        </pc:spChg>
        <pc:spChg chg="del">
          <ac:chgData name="Siri Marie Aamodt" userId="91f91055-7576-44c0-87b5-30a6c57d9b33" providerId="ADAL" clId="{4A0037A8-364E-4711-AE82-523E0BDA7E50}" dt="2023-05-15T12:41:39.994" v="1994" actId="700"/>
          <ac:spMkLst>
            <pc:docMk/>
            <pc:sldMk cId="1013735377" sldId="267"/>
            <ac:spMk id="6" creationId="{CE68C0C0-A381-9A8C-6464-A9892619254F}"/>
          </ac:spMkLst>
        </pc:spChg>
        <pc:spChg chg="add mod ord">
          <ac:chgData name="Siri Marie Aamodt" userId="91f91055-7576-44c0-87b5-30a6c57d9b33" providerId="ADAL" clId="{4A0037A8-364E-4711-AE82-523E0BDA7E50}" dt="2023-05-23T17:22:33.946" v="4242" actId="948"/>
          <ac:spMkLst>
            <pc:docMk/>
            <pc:sldMk cId="1013735377" sldId="267"/>
            <ac:spMk id="6" creationId="{EAA8C669-217E-5486-5474-2330538F8FB6}"/>
          </ac:spMkLst>
        </pc:spChg>
        <pc:spChg chg="del mod ord">
          <ac:chgData name="Siri Marie Aamodt" userId="91f91055-7576-44c0-87b5-30a6c57d9b33" providerId="ADAL" clId="{4A0037A8-364E-4711-AE82-523E0BDA7E50}" dt="2023-05-15T12:41:39.994" v="1994" actId="700"/>
          <ac:spMkLst>
            <pc:docMk/>
            <pc:sldMk cId="1013735377" sldId="267"/>
            <ac:spMk id="7" creationId="{106499E4-5787-ACF2-F80C-EF49814BCCB5}"/>
          </ac:spMkLst>
        </pc:spChg>
        <pc:spChg chg="add del mod ord">
          <ac:chgData name="Siri Marie Aamodt" userId="91f91055-7576-44c0-87b5-30a6c57d9b33" providerId="ADAL" clId="{4A0037A8-364E-4711-AE82-523E0BDA7E50}" dt="2023-05-23T17:12:45.321" v="3775" actId="478"/>
          <ac:spMkLst>
            <pc:docMk/>
            <pc:sldMk cId="1013735377" sldId="267"/>
            <ac:spMk id="7" creationId="{E7E2159C-96B5-DB8E-9F53-0482E8D13B91}"/>
          </ac:spMkLst>
        </pc:spChg>
        <pc:spChg chg="del">
          <ac:chgData name="Siri Marie Aamodt" userId="91f91055-7576-44c0-87b5-30a6c57d9b33" providerId="ADAL" clId="{4A0037A8-364E-4711-AE82-523E0BDA7E50}" dt="2023-05-15T12:41:39.994" v="1994" actId="700"/>
          <ac:spMkLst>
            <pc:docMk/>
            <pc:sldMk cId="1013735377" sldId="267"/>
            <ac:spMk id="8" creationId="{8EDEC789-A35E-0E55-0DA8-6B0776F66EDB}"/>
          </ac:spMkLst>
        </pc:spChg>
        <pc:spChg chg="add del mod ord">
          <ac:chgData name="Siri Marie Aamodt" userId="91f91055-7576-44c0-87b5-30a6c57d9b33" providerId="ADAL" clId="{4A0037A8-364E-4711-AE82-523E0BDA7E50}" dt="2023-05-23T17:13:05.644" v="3781" actId="478"/>
          <ac:spMkLst>
            <pc:docMk/>
            <pc:sldMk cId="1013735377" sldId="267"/>
            <ac:spMk id="8" creationId="{E7F27439-BBE7-DE54-CC85-CC25828598AE}"/>
          </ac:spMkLst>
        </pc:spChg>
        <pc:spChg chg="del">
          <ac:chgData name="Siri Marie Aamodt" userId="91f91055-7576-44c0-87b5-30a6c57d9b33" providerId="ADAL" clId="{4A0037A8-364E-4711-AE82-523E0BDA7E50}" dt="2023-05-15T12:41:39.994" v="1994" actId="700"/>
          <ac:spMkLst>
            <pc:docMk/>
            <pc:sldMk cId="1013735377" sldId="267"/>
            <ac:spMk id="9" creationId="{AC79152E-2BD8-F7C5-3F5E-0E4E79A860EC}"/>
          </ac:spMkLst>
        </pc:spChg>
        <pc:spChg chg="add del mod ord">
          <ac:chgData name="Siri Marie Aamodt" userId="91f91055-7576-44c0-87b5-30a6c57d9b33" providerId="ADAL" clId="{4A0037A8-364E-4711-AE82-523E0BDA7E50}" dt="2023-05-23T17:13:41.055" v="3802" actId="478"/>
          <ac:spMkLst>
            <pc:docMk/>
            <pc:sldMk cId="1013735377" sldId="267"/>
            <ac:spMk id="9" creationId="{CF55F0CB-E976-FFF4-9994-ECD138B474D6}"/>
          </ac:spMkLst>
        </pc:spChg>
        <pc:spChg chg="del">
          <ac:chgData name="Siri Marie Aamodt" userId="91f91055-7576-44c0-87b5-30a6c57d9b33" providerId="ADAL" clId="{4A0037A8-364E-4711-AE82-523E0BDA7E50}" dt="2023-05-15T12:41:39.994" v="1994" actId="700"/>
          <ac:spMkLst>
            <pc:docMk/>
            <pc:sldMk cId="1013735377" sldId="267"/>
            <ac:spMk id="10" creationId="{19472318-3901-831E-D667-E52810C93D10}"/>
          </ac:spMkLst>
        </pc:spChg>
        <pc:spChg chg="add mod ord">
          <ac:chgData name="Siri Marie Aamodt" userId="91f91055-7576-44c0-87b5-30a6c57d9b33" providerId="ADAL" clId="{4A0037A8-364E-4711-AE82-523E0BDA7E50}" dt="2023-05-23T17:22:34.022" v="4248" actId="948"/>
          <ac:spMkLst>
            <pc:docMk/>
            <pc:sldMk cId="1013735377" sldId="267"/>
            <ac:spMk id="10" creationId="{76856CAB-FC01-D41F-4A8E-DF6116ED2E98}"/>
          </ac:spMkLst>
        </pc:spChg>
        <pc:spChg chg="add mod ord">
          <ac:chgData name="Siri Marie Aamodt" userId="91f91055-7576-44c0-87b5-30a6c57d9b33" providerId="ADAL" clId="{4A0037A8-364E-4711-AE82-523E0BDA7E50}" dt="2023-05-24T07:32:16.563" v="4737" actId="5793"/>
          <ac:spMkLst>
            <pc:docMk/>
            <pc:sldMk cId="1013735377" sldId="267"/>
            <ac:spMk id="11" creationId="{5CC20C6F-620C-117C-1909-FCF0E14D7171}"/>
          </ac:spMkLst>
        </pc:spChg>
        <pc:spChg chg="del">
          <ac:chgData name="Siri Marie Aamodt" userId="91f91055-7576-44c0-87b5-30a6c57d9b33" providerId="ADAL" clId="{4A0037A8-364E-4711-AE82-523E0BDA7E50}" dt="2023-05-15T12:41:39.994" v="1994" actId="700"/>
          <ac:spMkLst>
            <pc:docMk/>
            <pc:sldMk cId="1013735377" sldId="267"/>
            <ac:spMk id="11" creationId="{9E52D165-DF19-67D9-11B6-696121BC8822}"/>
          </ac:spMkLst>
        </pc:spChg>
        <pc:spChg chg="del">
          <ac:chgData name="Siri Marie Aamodt" userId="91f91055-7576-44c0-87b5-30a6c57d9b33" providerId="ADAL" clId="{4A0037A8-364E-4711-AE82-523E0BDA7E50}" dt="2023-05-15T12:41:39.994" v="1994" actId="700"/>
          <ac:spMkLst>
            <pc:docMk/>
            <pc:sldMk cId="1013735377" sldId="267"/>
            <ac:spMk id="12" creationId="{33B3F02C-D696-60CD-01F4-152256AB62F7}"/>
          </ac:spMkLst>
        </pc:spChg>
        <pc:spChg chg="del">
          <ac:chgData name="Siri Marie Aamodt" userId="91f91055-7576-44c0-87b5-30a6c57d9b33" providerId="ADAL" clId="{4A0037A8-364E-4711-AE82-523E0BDA7E50}" dt="2023-05-15T12:41:39.994" v="1994" actId="700"/>
          <ac:spMkLst>
            <pc:docMk/>
            <pc:sldMk cId="1013735377" sldId="267"/>
            <ac:spMk id="13" creationId="{64D2697A-01B8-0D66-E12C-8B3B2BDEB8EA}"/>
          </ac:spMkLst>
        </pc:spChg>
        <pc:spChg chg="add mod ord">
          <ac:chgData name="Siri Marie Aamodt" userId="91f91055-7576-44c0-87b5-30a6c57d9b33" providerId="ADAL" clId="{4A0037A8-364E-4711-AE82-523E0BDA7E50}" dt="2023-05-23T17:25:18.788" v="4292" actId="20577"/>
          <ac:spMkLst>
            <pc:docMk/>
            <pc:sldMk cId="1013735377" sldId="267"/>
            <ac:spMk id="14" creationId="{EF247609-4EBE-6F8E-BEA5-D656ABC51A6F}"/>
          </ac:spMkLst>
        </pc:spChg>
        <pc:spChg chg="add mod ord">
          <ac:chgData name="Siri Marie Aamodt" userId="91f91055-7576-44c0-87b5-30a6c57d9b33" providerId="ADAL" clId="{4A0037A8-364E-4711-AE82-523E0BDA7E50}" dt="2023-05-23T17:22:33.975" v="4244" actId="948"/>
          <ac:spMkLst>
            <pc:docMk/>
            <pc:sldMk cId="1013735377" sldId="267"/>
            <ac:spMk id="15" creationId="{40917B25-0FDA-44CD-C336-A671B919A4EC}"/>
          </ac:spMkLst>
        </pc:spChg>
      </pc:sldChg>
      <pc:sldChg chg="addSp delSp modSp new mod modClrScheme chgLayout">
        <pc:chgData name="Siri Marie Aamodt" userId="91f91055-7576-44c0-87b5-30a6c57d9b33" providerId="ADAL" clId="{4A0037A8-364E-4711-AE82-523E0BDA7E50}" dt="2023-05-24T08:37:12.316" v="5221" actId="20577"/>
        <pc:sldMkLst>
          <pc:docMk/>
          <pc:sldMk cId="2392438840" sldId="268"/>
        </pc:sldMkLst>
        <pc:spChg chg="mod ord">
          <ac:chgData name="Siri Marie Aamodt" userId="91f91055-7576-44c0-87b5-30a6c57d9b33" providerId="ADAL" clId="{4A0037A8-364E-4711-AE82-523E0BDA7E50}" dt="2023-05-24T08:34:10.075" v="4739" actId="700"/>
          <ac:spMkLst>
            <pc:docMk/>
            <pc:sldMk cId="2392438840" sldId="268"/>
            <ac:spMk id="2" creationId="{462FE60C-0920-8336-7B48-60DE0B270DF4}"/>
          </ac:spMkLst>
        </pc:spChg>
        <pc:spChg chg="mod ord">
          <ac:chgData name="Siri Marie Aamodt" userId="91f91055-7576-44c0-87b5-30a6c57d9b33" providerId="ADAL" clId="{4A0037A8-364E-4711-AE82-523E0BDA7E50}" dt="2023-05-24T08:34:10.075" v="4739" actId="700"/>
          <ac:spMkLst>
            <pc:docMk/>
            <pc:sldMk cId="2392438840" sldId="268"/>
            <ac:spMk id="3" creationId="{C13487A5-09CE-D4C7-5BAF-78141159E406}"/>
          </ac:spMkLst>
        </pc:spChg>
        <pc:spChg chg="del mod ord">
          <ac:chgData name="Siri Marie Aamodt" userId="91f91055-7576-44c0-87b5-30a6c57d9b33" providerId="ADAL" clId="{4A0037A8-364E-4711-AE82-523E0BDA7E50}" dt="2023-05-24T08:34:10.075" v="4739" actId="700"/>
          <ac:spMkLst>
            <pc:docMk/>
            <pc:sldMk cId="2392438840" sldId="268"/>
            <ac:spMk id="4" creationId="{8E274B95-5A54-E744-7BCF-023317942380}"/>
          </ac:spMkLst>
        </pc:spChg>
        <pc:spChg chg="del">
          <ac:chgData name="Siri Marie Aamodt" userId="91f91055-7576-44c0-87b5-30a6c57d9b33" providerId="ADAL" clId="{4A0037A8-364E-4711-AE82-523E0BDA7E50}" dt="2023-05-24T08:34:10.075" v="4739" actId="700"/>
          <ac:spMkLst>
            <pc:docMk/>
            <pc:sldMk cId="2392438840" sldId="268"/>
            <ac:spMk id="5" creationId="{4EDB2624-1AB7-B7E6-86C5-D69DC5768467}"/>
          </ac:spMkLst>
        </pc:spChg>
        <pc:spChg chg="del">
          <ac:chgData name="Siri Marie Aamodt" userId="91f91055-7576-44c0-87b5-30a6c57d9b33" providerId="ADAL" clId="{4A0037A8-364E-4711-AE82-523E0BDA7E50}" dt="2023-05-24T08:34:10.075" v="4739" actId="700"/>
          <ac:spMkLst>
            <pc:docMk/>
            <pc:sldMk cId="2392438840" sldId="268"/>
            <ac:spMk id="6" creationId="{6285F57E-D9AA-3E46-78F4-530DFFD3B813}"/>
          </ac:spMkLst>
        </pc:spChg>
        <pc:spChg chg="del mod ord">
          <ac:chgData name="Siri Marie Aamodt" userId="91f91055-7576-44c0-87b5-30a6c57d9b33" providerId="ADAL" clId="{4A0037A8-364E-4711-AE82-523E0BDA7E50}" dt="2023-05-24T08:34:10.075" v="4739" actId="700"/>
          <ac:spMkLst>
            <pc:docMk/>
            <pc:sldMk cId="2392438840" sldId="268"/>
            <ac:spMk id="7" creationId="{99BD608D-B9B8-E33F-620A-BDD8585BFF04}"/>
          </ac:spMkLst>
        </pc:spChg>
        <pc:spChg chg="del">
          <ac:chgData name="Siri Marie Aamodt" userId="91f91055-7576-44c0-87b5-30a6c57d9b33" providerId="ADAL" clId="{4A0037A8-364E-4711-AE82-523E0BDA7E50}" dt="2023-05-24T08:34:10.075" v="4739" actId="700"/>
          <ac:spMkLst>
            <pc:docMk/>
            <pc:sldMk cId="2392438840" sldId="268"/>
            <ac:spMk id="8" creationId="{39E84B64-12E1-35B5-E8D3-5A882D879BC5}"/>
          </ac:spMkLst>
        </pc:spChg>
        <pc:spChg chg="del">
          <ac:chgData name="Siri Marie Aamodt" userId="91f91055-7576-44c0-87b5-30a6c57d9b33" providerId="ADAL" clId="{4A0037A8-364E-4711-AE82-523E0BDA7E50}" dt="2023-05-24T08:34:10.075" v="4739" actId="700"/>
          <ac:spMkLst>
            <pc:docMk/>
            <pc:sldMk cId="2392438840" sldId="268"/>
            <ac:spMk id="9" creationId="{8058D99A-47D1-3207-9E5B-A2F584DC48A9}"/>
          </ac:spMkLst>
        </pc:spChg>
        <pc:spChg chg="del">
          <ac:chgData name="Siri Marie Aamodt" userId="91f91055-7576-44c0-87b5-30a6c57d9b33" providerId="ADAL" clId="{4A0037A8-364E-4711-AE82-523E0BDA7E50}" dt="2023-05-24T08:34:10.075" v="4739" actId="700"/>
          <ac:spMkLst>
            <pc:docMk/>
            <pc:sldMk cId="2392438840" sldId="268"/>
            <ac:spMk id="10" creationId="{5ED4E4DF-AB21-170F-B538-E793A4F0AF67}"/>
          </ac:spMkLst>
        </pc:spChg>
        <pc:spChg chg="del">
          <ac:chgData name="Siri Marie Aamodt" userId="91f91055-7576-44c0-87b5-30a6c57d9b33" providerId="ADAL" clId="{4A0037A8-364E-4711-AE82-523E0BDA7E50}" dt="2023-05-24T08:34:10.075" v="4739" actId="700"/>
          <ac:spMkLst>
            <pc:docMk/>
            <pc:sldMk cId="2392438840" sldId="268"/>
            <ac:spMk id="11" creationId="{FEE6E5E8-6BA6-78F5-42AB-4630F941904A}"/>
          </ac:spMkLst>
        </pc:spChg>
        <pc:spChg chg="del">
          <ac:chgData name="Siri Marie Aamodt" userId="91f91055-7576-44c0-87b5-30a6c57d9b33" providerId="ADAL" clId="{4A0037A8-364E-4711-AE82-523E0BDA7E50}" dt="2023-05-24T08:34:10.075" v="4739" actId="700"/>
          <ac:spMkLst>
            <pc:docMk/>
            <pc:sldMk cId="2392438840" sldId="268"/>
            <ac:spMk id="12" creationId="{2FFC09B6-9DFF-52E7-703F-BB2C20F64BE4}"/>
          </ac:spMkLst>
        </pc:spChg>
        <pc:spChg chg="del">
          <ac:chgData name="Siri Marie Aamodt" userId="91f91055-7576-44c0-87b5-30a6c57d9b33" providerId="ADAL" clId="{4A0037A8-364E-4711-AE82-523E0BDA7E50}" dt="2023-05-24T08:34:10.075" v="4739" actId="700"/>
          <ac:spMkLst>
            <pc:docMk/>
            <pc:sldMk cId="2392438840" sldId="268"/>
            <ac:spMk id="13" creationId="{076297CB-50D8-34C8-2DF6-40B2E01F71B4}"/>
          </ac:spMkLst>
        </pc:spChg>
        <pc:spChg chg="add mod ord">
          <ac:chgData name="Siri Marie Aamodt" userId="91f91055-7576-44c0-87b5-30a6c57d9b33" providerId="ADAL" clId="{4A0037A8-364E-4711-AE82-523E0BDA7E50}" dt="2023-05-24T08:34:18.953" v="4772" actId="20577"/>
          <ac:spMkLst>
            <pc:docMk/>
            <pc:sldMk cId="2392438840" sldId="268"/>
            <ac:spMk id="14" creationId="{EE7963D2-6DA0-B4A4-FE44-098A0FF55669}"/>
          </ac:spMkLst>
        </pc:spChg>
        <pc:spChg chg="add mod ord">
          <ac:chgData name="Siri Marie Aamodt" userId="91f91055-7576-44c0-87b5-30a6c57d9b33" providerId="ADAL" clId="{4A0037A8-364E-4711-AE82-523E0BDA7E50}" dt="2023-05-24T08:37:12.316" v="5221" actId="20577"/>
          <ac:spMkLst>
            <pc:docMk/>
            <pc:sldMk cId="2392438840" sldId="268"/>
            <ac:spMk id="15" creationId="{1F8D0D53-7D01-B22C-99EB-D7DD282C50FC}"/>
          </ac:spMkLst>
        </pc:spChg>
      </pc:sldChg>
      <pc:sldChg chg="modSp add mod">
        <pc:chgData name="Siri Marie Aamodt" userId="91f91055-7576-44c0-87b5-30a6c57d9b33" providerId="ADAL" clId="{4A0037A8-364E-4711-AE82-523E0BDA7E50}" dt="2023-05-30T09:09:26.634" v="5853" actId="20577"/>
        <pc:sldMkLst>
          <pc:docMk/>
          <pc:sldMk cId="1722151170" sldId="269"/>
        </pc:sldMkLst>
        <pc:spChg chg="mod">
          <ac:chgData name="Siri Marie Aamodt" userId="91f91055-7576-44c0-87b5-30a6c57d9b33" providerId="ADAL" clId="{4A0037A8-364E-4711-AE82-523E0BDA7E50}" dt="2023-05-30T09:01:01.800" v="5236" actId="20577"/>
          <ac:spMkLst>
            <pc:docMk/>
            <pc:sldMk cId="1722151170" sldId="269"/>
            <ac:spMk id="14" creationId="{EE7963D2-6DA0-B4A4-FE44-098A0FF55669}"/>
          </ac:spMkLst>
        </pc:spChg>
        <pc:spChg chg="mod">
          <ac:chgData name="Siri Marie Aamodt" userId="91f91055-7576-44c0-87b5-30a6c57d9b33" providerId="ADAL" clId="{4A0037A8-364E-4711-AE82-523E0BDA7E50}" dt="2023-05-30T09:09:26.634" v="5853" actId="20577"/>
          <ac:spMkLst>
            <pc:docMk/>
            <pc:sldMk cId="1722151170" sldId="269"/>
            <ac:spMk id="15" creationId="{1F8D0D53-7D01-B22C-99EB-D7DD282C50FC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D06DB19-A357-4F34-AE1F-8B4F47DF6413}" type="doc">
      <dgm:prSet loTypeId="urn:microsoft.com/office/officeart/2005/8/layout/b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089C7038-603E-4C99-A610-EEDDDCD56E08}">
      <dgm:prSet phldrT="[Text]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nb-NO" dirty="0"/>
            <a:t>Godkjenning utdanningsledere</a:t>
          </a:r>
        </a:p>
      </dgm:t>
    </dgm:pt>
    <dgm:pt modelId="{8F31B43E-2168-4AE9-B6C7-7507DC3DDC14}" type="parTrans" cxnId="{0BB38F03-4DDE-405A-BACB-AE5CC1863BC5}">
      <dgm:prSet/>
      <dgm:spPr/>
      <dgm:t>
        <a:bodyPr/>
        <a:lstStyle/>
        <a:p>
          <a:endParaRPr lang="nb-NO"/>
        </a:p>
      </dgm:t>
    </dgm:pt>
    <dgm:pt modelId="{C8E195DD-65B3-4E98-ABCA-506BB6D6DB5D}" type="sibTrans" cxnId="{0BB38F03-4DDE-405A-BACB-AE5CC1863BC5}">
      <dgm:prSet/>
      <dgm:spPr/>
      <dgm:t>
        <a:bodyPr/>
        <a:lstStyle/>
        <a:p>
          <a:endParaRPr lang="nb-NO"/>
        </a:p>
      </dgm:t>
    </dgm:pt>
    <dgm:pt modelId="{2B3665AF-C091-4BD4-B75D-370D35A1BD0A}">
      <dgm:prSet/>
      <dgm:spPr/>
      <dgm:t>
        <a:bodyPr/>
        <a:lstStyle/>
        <a:p>
          <a:r>
            <a:rPr lang="nb-NO" dirty="0"/>
            <a:t>Innspill til tematikk fra </a:t>
          </a:r>
          <a:r>
            <a:rPr lang="nb-NO" dirty="0" err="1"/>
            <a:t>emneansvarlige</a:t>
          </a:r>
          <a:endParaRPr lang="nb-NO" dirty="0"/>
        </a:p>
      </dgm:t>
    </dgm:pt>
    <dgm:pt modelId="{675E7FFD-D126-45C8-852B-0778CE72AF0E}" type="parTrans" cxnId="{6ADBC8EE-0E39-40AE-98A6-8321B2B09FAB}">
      <dgm:prSet/>
      <dgm:spPr/>
      <dgm:t>
        <a:bodyPr/>
        <a:lstStyle/>
        <a:p>
          <a:endParaRPr lang="nb-NO"/>
        </a:p>
      </dgm:t>
    </dgm:pt>
    <dgm:pt modelId="{F863C52C-56A2-4748-96B6-A0AA4B2D1C1E}" type="sibTrans" cxnId="{6ADBC8EE-0E39-40AE-98A6-8321B2B09FAB}">
      <dgm:prSet/>
      <dgm:spPr/>
      <dgm:t>
        <a:bodyPr/>
        <a:lstStyle/>
        <a:p>
          <a:endParaRPr lang="nb-NO"/>
        </a:p>
      </dgm:t>
    </dgm:pt>
    <dgm:pt modelId="{3B237EC2-13BD-4C2E-9AE3-287B0EA72217}">
      <dgm:prSet/>
      <dgm:spPr/>
      <dgm:t>
        <a:bodyPr/>
        <a:lstStyle/>
        <a:p>
          <a:r>
            <a:rPr lang="nb-NO" dirty="0"/>
            <a:t>Utforme spørsmålsbatteri</a:t>
          </a:r>
        </a:p>
      </dgm:t>
    </dgm:pt>
    <dgm:pt modelId="{E85F8559-CCBD-44CA-A922-C0CBCED3FBD6}" type="parTrans" cxnId="{880DABD4-DEFA-4419-B868-08DB0A55A8FD}">
      <dgm:prSet/>
      <dgm:spPr/>
      <dgm:t>
        <a:bodyPr/>
        <a:lstStyle/>
        <a:p>
          <a:endParaRPr lang="nb-NO"/>
        </a:p>
      </dgm:t>
    </dgm:pt>
    <dgm:pt modelId="{161F2CF6-D23B-4913-B695-5C9B94B3F5AC}" type="sibTrans" cxnId="{880DABD4-DEFA-4419-B868-08DB0A55A8FD}">
      <dgm:prSet/>
      <dgm:spPr/>
      <dgm:t>
        <a:bodyPr/>
        <a:lstStyle/>
        <a:p>
          <a:endParaRPr lang="nb-NO"/>
        </a:p>
      </dgm:t>
    </dgm:pt>
    <dgm:pt modelId="{F9241D59-463E-4589-AD70-669BB9AEE572}">
      <dgm:prSet/>
      <dgm:spPr/>
      <dgm:t>
        <a:bodyPr/>
        <a:lstStyle/>
        <a:p>
          <a:r>
            <a:rPr lang="nb-NO" dirty="0"/>
            <a:t>Kvalitetssikre og få tilbakemelding på batteri fra </a:t>
          </a:r>
          <a:r>
            <a:rPr lang="nb-NO" dirty="0" err="1"/>
            <a:t>emneansvarlige</a:t>
          </a:r>
          <a:r>
            <a:rPr lang="nb-NO" dirty="0"/>
            <a:t>.</a:t>
          </a:r>
        </a:p>
      </dgm:t>
    </dgm:pt>
    <dgm:pt modelId="{EAEF89DD-02D4-4211-85BF-E87BBDD38AE4}" type="parTrans" cxnId="{58045BBB-FDB2-452B-817E-A4BFDC4343F2}">
      <dgm:prSet/>
      <dgm:spPr/>
      <dgm:t>
        <a:bodyPr/>
        <a:lstStyle/>
        <a:p>
          <a:endParaRPr lang="nb-NO"/>
        </a:p>
      </dgm:t>
    </dgm:pt>
    <dgm:pt modelId="{F9B0C430-E482-4D4F-89F0-C8508CAD5F0A}" type="sibTrans" cxnId="{58045BBB-FDB2-452B-817E-A4BFDC4343F2}">
      <dgm:prSet/>
      <dgm:spPr/>
      <dgm:t>
        <a:bodyPr/>
        <a:lstStyle/>
        <a:p>
          <a:endParaRPr lang="nb-NO"/>
        </a:p>
      </dgm:t>
    </dgm:pt>
    <dgm:pt modelId="{8ACA777B-5E69-4E53-9C5B-B9A90E5C7378}">
      <dgm:prSet/>
      <dgm:spPr/>
      <dgm:t>
        <a:bodyPr/>
        <a:lstStyle/>
        <a:p>
          <a:r>
            <a:rPr lang="nb-NO" dirty="0"/>
            <a:t>Gjennomføre evaluering</a:t>
          </a:r>
        </a:p>
      </dgm:t>
    </dgm:pt>
    <dgm:pt modelId="{94B03D1B-B319-406F-8AC2-F702AB767C90}" type="parTrans" cxnId="{B186377D-330C-4C42-9DD0-E6CAA11FE7D9}">
      <dgm:prSet/>
      <dgm:spPr/>
      <dgm:t>
        <a:bodyPr/>
        <a:lstStyle/>
        <a:p>
          <a:endParaRPr lang="nb-NO"/>
        </a:p>
      </dgm:t>
    </dgm:pt>
    <dgm:pt modelId="{DFC43A41-E99D-4A43-A3B8-E151C1A68076}" type="sibTrans" cxnId="{B186377D-330C-4C42-9DD0-E6CAA11FE7D9}">
      <dgm:prSet/>
      <dgm:spPr/>
      <dgm:t>
        <a:bodyPr/>
        <a:lstStyle/>
        <a:p>
          <a:endParaRPr lang="nb-NO"/>
        </a:p>
      </dgm:t>
    </dgm:pt>
    <dgm:pt modelId="{A754ACBC-E376-490D-81BB-EA3A5863A645}">
      <dgm:prSet/>
      <dgm:spPr/>
      <dgm:t>
        <a:bodyPr/>
        <a:lstStyle/>
        <a:p>
          <a:r>
            <a:rPr lang="nb-NO" dirty="0"/>
            <a:t>Presentere funn på Forum for studiespørsmål</a:t>
          </a:r>
        </a:p>
      </dgm:t>
    </dgm:pt>
    <dgm:pt modelId="{E9431997-5814-4146-9A11-CE81B38D597A}" type="parTrans" cxnId="{A725E514-F10B-4432-B197-E1AFEE3AD10C}">
      <dgm:prSet/>
      <dgm:spPr/>
      <dgm:t>
        <a:bodyPr/>
        <a:lstStyle/>
        <a:p>
          <a:endParaRPr lang="nb-NO"/>
        </a:p>
      </dgm:t>
    </dgm:pt>
    <dgm:pt modelId="{D31B1B8D-6DD1-44C0-866F-F66A1E3D1133}" type="sibTrans" cxnId="{A725E514-F10B-4432-B197-E1AFEE3AD10C}">
      <dgm:prSet/>
      <dgm:spPr/>
      <dgm:t>
        <a:bodyPr/>
        <a:lstStyle/>
        <a:p>
          <a:endParaRPr lang="nb-NO"/>
        </a:p>
      </dgm:t>
    </dgm:pt>
    <dgm:pt modelId="{E5108728-E449-458B-AF9F-3A34C39CE5B7}">
      <dgm:prSet/>
      <dgm:spPr/>
      <dgm:t>
        <a:bodyPr/>
        <a:lstStyle/>
        <a:p>
          <a:r>
            <a:rPr lang="nb-NO" dirty="0"/>
            <a:t>Informere studentene</a:t>
          </a:r>
        </a:p>
      </dgm:t>
    </dgm:pt>
    <dgm:pt modelId="{351E29F0-A3A4-4932-B6A9-6DD251CAB0E5}" type="parTrans" cxnId="{B381A598-AFAA-43FD-B859-B84F7CD2D20B}">
      <dgm:prSet/>
      <dgm:spPr/>
      <dgm:t>
        <a:bodyPr/>
        <a:lstStyle/>
        <a:p>
          <a:endParaRPr lang="nb-NO"/>
        </a:p>
      </dgm:t>
    </dgm:pt>
    <dgm:pt modelId="{EC291E37-C82D-48A2-A9ED-346B552C7761}" type="sibTrans" cxnId="{B381A598-AFAA-43FD-B859-B84F7CD2D20B}">
      <dgm:prSet/>
      <dgm:spPr/>
      <dgm:t>
        <a:bodyPr/>
        <a:lstStyle/>
        <a:p>
          <a:endParaRPr lang="nb-NO"/>
        </a:p>
      </dgm:t>
    </dgm:pt>
    <dgm:pt modelId="{A19F82E5-CA0C-4A41-80EE-C2593227D395}">
      <dgm:prSet/>
      <dgm:spPr/>
      <dgm:t>
        <a:bodyPr/>
        <a:lstStyle/>
        <a:p>
          <a:r>
            <a:rPr lang="nb-NO" dirty="0"/>
            <a:t>Bekrefte deltagere i piloten</a:t>
          </a:r>
        </a:p>
      </dgm:t>
    </dgm:pt>
    <dgm:pt modelId="{7DD274A2-7260-447E-8BB3-5B76EDCBE095}" type="parTrans" cxnId="{158AA01B-2C80-4374-88A8-21F51F3DA84C}">
      <dgm:prSet/>
      <dgm:spPr/>
      <dgm:t>
        <a:bodyPr/>
        <a:lstStyle/>
        <a:p>
          <a:endParaRPr lang="nb-NO"/>
        </a:p>
      </dgm:t>
    </dgm:pt>
    <dgm:pt modelId="{E8539BD2-C1B8-4B37-BCA2-E2714C884FD9}" type="sibTrans" cxnId="{158AA01B-2C80-4374-88A8-21F51F3DA84C}">
      <dgm:prSet/>
      <dgm:spPr/>
      <dgm:t>
        <a:bodyPr/>
        <a:lstStyle/>
        <a:p>
          <a:endParaRPr lang="nb-NO"/>
        </a:p>
      </dgm:t>
    </dgm:pt>
    <dgm:pt modelId="{1906C723-DF08-4F7F-8DC7-787D05D18B7F}" type="pres">
      <dgm:prSet presAssocID="{DD06DB19-A357-4F34-AE1F-8B4F47DF6413}" presName="Name0" presStyleCnt="0">
        <dgm:presLayoutVars>
          <dgm:dir/>
          <dgm:resizeHandles val="exact"/>
        </dgm:presLayoutVars>
      </dgm:prSet>
      <dgm:spPr/>
    </dgm:pt>
    <dgm:pt modelId="{FBB79D91-E3F4-4681-B3B2-98CA3971006E}" type="pres">
      <dgm:prSet presAssocID="{089C7038-603E-4C99-A610-EEDDDCD56E08}" presName="node" presStyleLbl="node1" presStyleIdx="0" presStyleCnt="8">
        <dgm:presLayoutVars>
          <dgm:bulletEnabled val="1"/>
        </dgm:presLayoutVars>
      </dgm:prSet>
      <dgm:spPr/>
    </dgm:pt>
    <dgm:pt modelId="{E01F8464-5FE9-4E1A-A238-4CCEF33EDFBD}" type="pres">
      <dgm:prSet presAssocID="{C8E195DD-65B3-4E98-ABCA-506BB6D6DB5D}" presName="sibTrans" presStyleLbl="sibTrans1D1" presStyleIdx="0" presStyleCnt="7"/>
      <dgm:spPr/>
    </dgm:pt>
    <dgm:pt modelId="{6C43FF6F-B80D-4503-A0F5-CC189B6D4BE8}" type="pres">
      <dgm:prSet presAssocID="{C8E195DD-65B3-4E98-ABCA-506BB6D6DB5D}" presName="connectorText" presStyleLbl="sibTrans1D1" presStyleIdx="0" presStyleCnt="7"/>
      <dgm:spPr/>
    </dgm:pt>
    <dgm:pt modelId="{619BF45B-3000-482D-8C37-492052AC9C15}" type="pres">
      <dgm:prSet presAssocID="{2B3665AF-C091-4BD4-B75D-370D35A1BD0A}" presName="node" presStyleLbl="node1" presStyleIdx="1" presStyleCnt="8">
        <dgm:presLayoutVars>
          <dgm:bulletEnabled val="1"/>
        </dgm:presLayoutVars>
      </dgm:prSet>
      <dgm:spPr/>
    </dgm:pt>
    <dgm:pt modelId="{ABCF424B-B4C2-4B6C-8A43-723DA1EF1445}" type="pres">
      <dgm:prSet presAssocID="{F863C52C-56A2-4748-96B6-A0AA4B2D1C1E}" presName="sibTrans" presStyleLbl="sibTrans1D1" presStyleIdx="1" presStyleCnt="7"/>
      <dgm:spPr/>
    </dgm:pt>
    <dgm:pt modelId="{362837CB-3EE2-41F8-819D-62D20E2D7AB7}" type="pres">
      <dgm:prSet presAssocID="{F863C52C-56A2-4748-96B6-A0AA4B2D1C1E}" presName="connectorText" presStyleLbl="sibTrans1D1" presStyleIdx="1" presStyleCnt="7"/>
      <dgm:spPr/>
    </dgm:pt>
    <dgm:pt modelId="{D0036ED0-05C1-44F1-8C89-27C41572DCD7}" type="pres">
      <dgm:prSet presAssocID="{3B237EC2-13BD-4C2E-9AE3-287B0EA72217}" presName="node" presStyleLbl="node1" presStyleIdx="2" presStyleCnt="8">
        <dgm:presLayoutVars>
          <dgm:bulletEnabled val="1"/>
        </dgm:presLayoutVars>
      </dgm:prSet>
      <dgm:spPr/>
    </dgm:pt>
    <dgm:pt modelId="{72417B86-72B4-40A1-9360-9191AB6EC67A}" type="pres">
      <dgm:prSet presAssocID="{161F2CF6-D23B-4913-B695-5C9B94B3F5AC}" presName="sibTrans" presStyleLbl="sibTrans1D1" presStyleIdx="2" presStyleCnt="7"/>
      <dgm:spPr/>
    </dgm:pt>
    <dgm:pt modelId="{24B533E4-AEF4-4F7D-B793-ACB0DBB7FC63}" type="pres">
      <dgm:prSet presAssocID="{161F2CF6-D23B-4913-B695-5C9B94B3F5AC}" presName="connectorText" presStyleLbl="sibTrans1D1" presStyleIdx="2" presStyleCnt="7"/>
      <dgm:spPr/>
    </dgm:pt>
    <dgm:pt modelId="{0ECB95D3-14F4-402A-9149-AF754BDF9FAD}" type="pres">
      <dgm:prSet presAssocID="{F9241D59-463E-4589-AD70-669BB9AEE572}" presName="node" presStyleLbl="node1" presStyleIdx="3" presStyleCnt="8">
        <dgm:presLayoutVars>
          <dgm:bulletEnabled val="1"/>
        </dgm:presLayoutVars>
      </dgm:prSet>
      <dgm:spPr/>
    </dgm:pt>
    <dgm:pt modelId="{A80C7ADE-F2ED-4D13-8716-0285DEDF1337}" type="pres">
      <dgm:prSet presAssocID="{F9B0C430-E482-4D4F-89F0-C8508CAD5F0A}" presName="sibTrans" presStyleLbl="sibTrans1D1" presStyleIdx="3" presStyleCnt="7"/>
      <dgm:spPr/>
    </dgm:pt>
    <dgm:pt modelId="{885370C3-BF39-402A-8EDF-E4459F706C3E}" type="pres">
      <dgm:prSet presAssocID="{F9B0C430-E482-4D4F-89F0-C8508CAD5F0A}" presName="connectorText" presStyleLbl="sibTrans1D1" presStyleIdx="3" presStyleCnt="7"/>
      <dgm:spPr/>
    </dgm:pt>
    <dgm:pt modelId="{578653E3-3AD2-4DB5-B545-287D71B54164}" type="pres">
      <dgm:prSet presAssocID="{A19F82E5-CA0C-4A41-80EE-C2593227D395}" presName="node" presStyleLbl="node1" presStyleIdx="4" presStyleCnt="8">
        <dgm:presLayoutVars>
          <dgm:bulletEnabled val="1"/>
        </dgm:presLayoutVars>
      </dgm:prSet>
      <dgm:spPr/>
    </dgm:pt>
    <dgm:pt modelId="{CED1A879-2CB9-4FE2-A641-0707F84DDBCB}" type="pres">
      <dgm:prSet presAssocID="{E8539BD2-C1B8-4B37-BCA2-E2714C884FD9}" presName="sibTrans" presStyleLbl="sibTrans1D1" presStyleIdx="4" presStyleCnt="7"/>
      <dgm:spPr/>
    </dgm:pt>
    <dgm:pt modelId="{F84CF72B-9248-4006-B710-D988598AA5CC}" type="pres">
      <dgm:prSet presAssocID="{E8539BD2-C1B8-4B37-BCA2-E2714C884FD9}" presName="connectorText" presStyleLbl="sibTrans1D1" presStyleIdx="4" presStyleCnt="7"/>
      <dgm:spPr/>
    </dgm:pt>
    <dgm:pt modelId="{2756853F-37C1-4C95-B1D9-D2D27AF0505A}" type="pres">
      <dgm:prSet presAssocID="{E5108728-E449-458B-AF9F-3A34C39CE5B7}" presName="node" presStyleLbl="node1" presStyleIdx="5" presStyleCnt="8">
        <dgm:presLayoutVars>
          <dgm:bulletEnabled val="1"/>
        </dgm:presLayoutVars>
      </dgm:prSet>
      <dgm:spPr/>
    </dgm:pt>
    <dgm:pt modelId="{17998AD7-F4EB-4ED7-91C4-EFF2F9B7156F}" type="pres">
      <dgm:prSet presAssocID="{EC291E37-C82D-48A2-A9ED-346B552C7761}" presName="sibTrans" presStyleLbl="sibTrans1D1" presStyleIdx="5" presStyleCnt="7"/>
      <dgm:spPr/>
    </dgm:pt>
    <dgm:pt modelId="{17FB05E1-765C-4D50-930A-1C4AA125CCFE}" type="pres">
      <dgm:prSet presAssocID="{EC291E37-C82D-48A2-A9ED-346B552C7761}" presName="connectorText" presStyleLbl="sibTrans1D1" presStyleIdx="5" presStyleCnt="7"/>
      <dgm:spPr/>
    </dgm:pt>
    <dgm:pt modelId="{D767F751-CD6C-4D9E-BD7C-A5507FE56CA5}" type="pres">
      <dgm:prSet presAssocID="{8ACA777B-5E69-4E53-9C5B-B9A90E5C7378}" presName="node" presStyleLbl="node1" presStyleIdx="6" presStyleCnt="8">
        <dgm:presLayoutVars>
          <dgm:bulletEnabled val="1"/>
        </dgm:presLayoutVars>
      </dgm:prSet>
      <dgm:spPr/>
    </dgm:pt>
    <dgm:pt modelId="{9AA48122-D05F-4092-AEC7-B1DC2E174717}" type="pres">
      <dgm:prSet presAssocID="{DFC43A41-E99D-4A43-A3B8-E151C1A68076}" presName="sibTrans" presStyleLbl="sibTrans1D1" presStyleIdx="6" presStyleCnt="7"/>
      <dgm:spPr/>
    </dgm:pt>
    <dgm:pt modelId="{A23F5F5B-CC81-400B-BBB3-4CBCA6511061}" type="pres">
      <dgm:prSet presAssocID="{DFC43A41-E99D-4A43-A3B8-E151C1A68076}" presName="connectorText" presStyleLbl="sibTrans1D1" presStyleIdx="6" presStyleCnt="7"/>
      <dgm:spPr/>
    </dgm:pt>
    <dgm:pt modelId="{56E17BCD-6928-4269-8292-1E0FBF71C2E7}" type="pres">
      <dgm:prSet presAssocID="{A754ACBC-E376-490D-81BB-EA3A5863A645}" presName="node" presStyleLbl="node1" presStyleIdx="7" presStyleCnt="8">
        <dgm:presLayoutVars>
          <dgm:bulletEnabled val="1"/>
        </dgm:presLayoutVars>
      </dgm:prSet>
      <dgm:spPr/>
    </dgm:pt>
  </dgm:ptLst>
  <dgm:cxnLst>
    <dgm:cxn modelId="{0BB38F03-4DDE-405A-BACB-AE5CC1863BC5}" srcId="{DD06DB19-A357-4F34-AE1F-8B4F47DF6413}" destId="{089C7038-603E-4C99-A610-EEDDDCD56E08}" srcOrd="0" destOrd="0" parTransId="{8F31B43E-2168-4AE9-B6C7-7507DC3DDC14}" sibTransId="{C8E195DD-65B3-4E98-ABCA-506BB6D6DB5D}"/>
    <dgm:cxn modelId="{A725E514-F10B-4432-B197-E1AFEE3AD10C}" srcId="{DD06DB19-A357-4F34-AE1F-8B4F47DF6413}" destId="{A754ACBC-E376-490D-81BB-EA3A5863A645}" srcOrd="7" destOrd="0" parTransId="{E9431997-5814-4146-9A11-CE81B38D597A}" sibTransId="{D31B1B8D-6DD1-44C0-866F-F66A1E3D1133}"/>
    <dgm:cxn modelId="{9C618417-0665-4CFB-ABD4-C2A70355687C}" type="presOf" srcId="{2B3665AF-C091-4BD4-B75D-370D35A1BD0A}" destId="{619BF45B-3000-482D-8C37-492052AC9C15}" srcOrd="0" destOrd="0" presId="urn:microsoft.com/office/officeart/2005/8/layout/bProcess3"/>
    <dgm:cxn modelId="{158AA01B-2C80-4374-88A8-21F51F3DA84C}" srcId="{DD06DB19-A357-4F34-AE1F-8B4F47DF6413}" destId="{A19F82E5-CA0C-4A41-80EE-C2593227D395}" srcOrd="4" destOrd="0" parTransId="{7DD274A2-7260-447E-8BB3-5B76EDCBE095}" sibTransId="{E8539BD2-C1B8-4B37-BCA2-E2714C884FD9}"/>
    <dgm:cxn modelId="{9DDA6F21-D73A-47A3-AEC6-CC51684A364A}" type="presOf" srcId="{F9241D59-463E-4589-AD70-669BB9AEE572}" destId="{0ECB95D3-14F4-402A-9149-AF754BDF9FAD}" srcOrd="0" destOrd="0" presId="urn:microsoft.com/office/officeart/2005/8/layout/bProcess3"/>
    <dgm:cxn modelId="{59ABC121-8BC1-4522-B0AE-BF4117A04C83}" type="presOf" srcId="{3B237EC2-13BD-4C2E-9AE3-287B0EA72217}" destId="{D0036ED0-05C1-44F1-8C89-27C41572DCD7}" srcOrd="0" destOrd="0" presId="urn:microsoft.com/office/officeart/2005/8/layout/bProcess3"/>
    <dgm:cxn modelId="{A064FC25-0937-4C5E-98F3-AF0F2C14E4E8}" type="presOf" srcId="{DFC43A41-E99D-4A43-A3B8-E151C1A68076}" destId="{A23F5F5B-CC81-400B-BBB3-4CBCA6511061}" srcOrd="1" destOrd="0" presId="urn:microsoft.com/office/officeart/2005/8/layout/bProcess3"/>
    <dgm:cxn modelId="{69C85129-76AF-4F1C-8FCE-900F767E63C0}" type="presOf" srcId="{A754ACBC-E376-490D-81BB-EA3A5863A645}" destId="{56E17BCD-6928-4269-8292-1E0FBF71C2E7}" srcOrd="0" destOrd="0" presId="urn:microsoft.com/office/officeart/2005/8/layout/bProcess3"/>
    <dgm:cxn modelId="{C28EC32B-DAE1-4D8F-9A21-179C98E1A425}" type="presOf" srcId="{E8539BD2-C1B8-4B37-BCA2-E2714C884FD9}" destId="{CED1A879-2CB9-4FE2-A641-0707F84DDBCB}" srcOrd="0" destOrd="0" presId="urn:microsoft.com/office/officeart/2005/8/layout/bProcess3"/>
    <dgm:cxn modelId="{2FC64841-30B6-4FE1-937C-7A04715CF8A7}" type="presOf" srcId="{EC291E37-C82D-48A2-A9ED-346B552C7761}" destId="{17FB05E1-765C-4D50-930A-1C4AA125CCFE}" srcOrd="1" destOrd="0" presId="urn:microsoft.com/office/officeart/2005/8/layout/bProcess3"/>
    <dgm:cxn modelId="{DBC62457-9E78-4227-9141-9ACFFDBB0928}" type="presOf" srcId="{F863C52C-56A2-4748-96B6-A0AA4B2D1C1E}" destId="{362837CB-3EE2-41F8-819D-62D20E2D7AB7}" srcOrd="1" destOrd="0" presId="urn:microsoft.com/office/officeart/2005/8/layout/bProcess3"/>
    <dgm:cxn modelId="{AA1FCD7A-5E3C-49CD-A58E-43C49EEA599C}" type="presOf" srcId="{161F2CF6-D23B-4913-B695-5C9B94B3F5AC}" destId="{72417B86-72B4-40A1-9360-9191AB6EC67A}" srcOrd="0" destOrd="0" presId="urn:microsoft.com/office/officeart/2005/8/layout/bProcess3"/>
    <dgm:cxn modelId="{B186377D-330C-4C42-9DD0-E6CAA11FE7D9}" srcId="{DD06DB19-A357-4F34-AE1F-8B4F47DF6413}" destId="{8ACA777B-5E69-4E53-9C5B-B9A90E5C7378}" srcOrd="6" destOrd="0" parTransId="{94B03D1B-B319-406F-8AC2-F702AB767C90}" sibTransId="{DFC43A41-E99D-4A43-A3B8-E151C1A68076}"/>
    <dgm:cxn modelId="{744E2686-B7B9-4A3C-A5A4-8F0301C148DE}" type="presOf" srcId="{A19F82E5-CA0C-4A41-80EE-C2593227D395}" destId="{578653E3-3AD2-4DB5-B545-287D71B54164}" srcOrd="0" destOrd="0" presId="urn:microsoft.com/office/officeart/2005/8/layout/bProcess3"/>
    <dgm:cxn modelId="{1621BA97-AEB8-492A-9461-C0F0D93E6618}" type="presOf" srcId="{E8539BD2-C1B8-4B37-BCA2-E2714C884FD9}" destId="{F84CF72B-9248-4006-B710-D988598AA5CC}" srcOrd="1" destOrd="0" presId="urn:microsoft.com/office/officeart/2005/8/layout/bProcess3"/>
    <dgm:cxn modelId="{B381A598-AFAA-43FD-B859-B84F7CD2D20B}" srcId="{DD06DB19-A357-4F34-AE1F-8B4F47DF6413}" destId="{E5108728-E449-458B-AF9F-3A34C39CE5B7}" srcOrd="5" destOrd="0" parTransId="{351E29F0-A3A4-4932-B6A9-6DD251CAB0E5}" sibTransId="{EC291E37-C82D-48A2-A9ED-346B552C7761}"/>
    <dgm:cxn modelId="{B280DD98-C53E-4732-91E4-C7D9BF555F70}" type="presOf" srcId="{EC291E37-C82D-48A2-A9ED-346B552C7761}" destId="{17998AD7-F4EB-4ED7-91C4-EFF2F9B7156F}" srcOrd="0" destOrd="0" presId="urn:microsoft.com/office/officeart/2005/8/layout/bProcess3"/>
    <dgm:cxn modelId="{5F3CFB9A-EDB6-4BC8-92C1-B538B2868FE6}" type="presOf" srcId="{DFC43A41-E99D-4A43-A3B8-E151C1A68076}" destId="{9AA48122-D05F-4092-AEC7-B1DC2E174717}" srcOrd="0" destOrd="0" presId="urn:microsoft.com/office/officeart/2005/8/layout/bProcess3"/>
    <dgm:cxn modelId="{108FFFA0-2355-467D-967B-150610BF263A}" type="presOf" srcId="{C8E195DD-65B3-4E98-ABCA-506BB6D6DB5D}" destId="{6C43FF6F-B80D-4503-A0F5-CC189B6D4BE8}" srcOrd="1" destOrd="0" presId="urn:microsoft.com/office/officeart/2005/8/layout/bProcess3"/>
    <dgm:cxn modelId="{45F8A7A7-712F-49B0-A88B-5398A7D7D319}" type="presOf" srcId="{F9B0C430-E482-4D4F-89F0-C8508CAD5F0A}" destId="{A80C7ADE-F2ED-4D13-8716-0285DEDF1337}" srcOrd="0" destOrd="0" presId="urn:microsoft.com/office/officeart/2005/8/layout/bProcess3"/>
    <dgm:cxn modelId="{6A056AAD-0D31-474F-A24D-3EC3D9BC78CA}" type="presOf" srcId="{089C7038-603E-4C99-A610-EEDDDCD56E08}" destId="{FBB79D91-E3F4-4681-B3B2-98CA3971006E}" srcOrd="0" destOrd="0" presId="urn:microsoft.com/office/officeart/2005/8/layout/bProcess3"/>
    <dgm:cxn modelId="{58045BBB-FDB2-452B-817E-A4BFDC4343F2}" srcId="{DD06DB19-A357-4F34-AE1F-8B4F47DF6413}" destId="{F9241D59-463E-4589-AD70-669BB9AEE572}" srcOrd="3" destOrd="0" parTransId="{EAEF89DD-02D4-4211-85BF-E87BBDD38AE4}" sibTransId="{F9B0C430-E482-4D4F-89F0-C8508CAD5F0A}"/>
    <dgm:cxn modelId="{1EFAFCD0-8D54-489B-857B-1F483F25C7C3}" type="presOf" srcId="{F9B0C430-E482-4D4F-89F0-C8508CAD5F0A}" destId="{885370C3-BF39-402A-8EDF-E4459F706C3E}" srcOrd="1" destOrd="0" presId="urn:microsoft.com/office/officeart/2005/8/layout/bProcess3"/>
    <dgm:cxn modelId="{CD7D5DD2-10B2-405C-A9AC-B4329036CE6C}" type="presOf" srcId="{F863C52C-56A2-4748-96B6-A0AA4B2D1C1E}" destId="{ABCF424B-B4C2-4B6C-8A43-723DA1EF1445}" srcOrd="0" destOrd="0" presId="urn:microsoft.com/office/officeart/2005/8/layout/bProcess3"/>
    <dgm:cxn modelId="{880DABD4-DEFA-4419-B868-08DB0A55A8FD}" srcId="{DD06DB19-A357-4F34-AE1F-8B4F47DF6413}" destId="{3B237EC2-13BD-4C2E-9AE3-287B0EA72217}" srcOrd="2" destOrd="0" parTransId="{E85F8559-CCBD-44CA-A922-C0CBCED3FBD6}" sibTransId="{161F2CF6-D23B-4913-B695-5C9B94B3F5AC}"/>
    <dgm:cxn modelId="{027CA9D8-1E06-4D76-B51E-56EEA7F1B6B4}" type="presOf" srcId="{E5108728-E449-458B-AF9F-3A34C39CE5B7}" destId="{2756853F-37C1-4C95-B1D9-D2D27AF0505A}" srcOrd="0" destOrd="0" presId="urn:microsoft.com/office/officeart/2005/8/layout/bProcess3"/>
    <dgm:cxn modelId="{ABE2F6E7-AD3E-4DE6-863B-2BC2552B8E90}" type="presOf" srcId="{C8E195DD-65B3-4E98-ABCA-506BB6D6DB5D}" destId="{E01F8464-5FE9-4E1A-A238-4CCEF33EDFBD}" srcOrd="0" destOrd="0" presId="urn:microsoft.com/office/officeart/2005/8/layout/bProcess3"/>
    <dgm:cxn modelId="{D8D528EB-251D-4260-845A-8BCC3B707C87}" type="presOf" srcId="{161F2CF6-D23B-4913-B695-5C9B94B3F5AC}" destId="{24B533E4-AEF4-4F7D-B793-ACB0DBB7FC63}" srcOrd="1" destOrd="0" presId="urn:microsoft.com/office/officeart/2005/8/layout/bProcess3"/>
    <dgm:cxn modelId="{6ADBC8EE-0E39-40AE-98A6-8321B2B09FAB}" srcId="{DD06DB19-A357-4F34-AE1F-8B4F47DF6413}" destId="{2B3665AF-C091-4BD4-B75D-370D35A1BD0A}" srcOrd="1" destOrd="0" parTransId="{675E7FFD-D126-45C8-852B-0778CE72AF0E}" sibTransId="{F863C52C-56A2-4748-96B6-A0AA4B2D1C1E}"/>
    <dgm:cxn modelId="{01696BF0-F763-4915-BE78-963C2BDEF4A1}" type="presOf" srcId="{DD06DB19-A357-4F34-AE1F-8B4F47DF6413}" destId="{1906C723-DF08-4F7F-8DC7-787D05D18B7F}" srcOrd="0" destOrd="0" presId="urn:microsoft.com/office/officeart/2005/8/layout/bProcess3"/>
    <dgm:cxn modelId="{C578C7FC-886A-4EEC-9994-5874365026AE}" type="presOf" srcId="{8ACA777B-5E69-4E53-9C5B-B9A90E5C7378}" destId="{D767F751-CD6C-4D9E-BD7C-A5507FE56CA5}" srcOrd="0" destOrd="0" presId="urn:microsoft.com/office/officeart/2005/8/layout/bProcess3"/>
    <dgm:cxn modelId="{0F7D8B46-F15E-4C5B-B349-D18D69655F9B}" type="presParOf" srcId="{1906C723-DF08-4F7F-8DC7-787D05D18B7F}" destId="{FBB79D91-E3F4-4681-B3B2-98CA3971006E}" srcOrd="0" destOrd="0" presId="urn:microsoft.com/office/officeart/2005/8/layout/bProcess3"/>
    <dgm:cxn modelId="{4953FCEF-0063-432F-B24B-DC99F30B0731}" type="presParOf" srcId="{1906C723-DF08-4F7F-8DC7-787D05D18B7F}" destId="{E01F8464-5FE9-4E1A-A238-4CCEF33EDFBD}" srcOrd="1" destOrd="0" presId="urn:microsoft.com/office/officeart/2005/8/layout/bProcess3"/>
    <dgm:cxn modelId="{07F44BC2-1658-41B1-A1C4-90B5D9D1847F}" type="presParOf" srcId="{E01F8464-5FE9-4E1A-A238-4CCEF33EDFBD}" destId="{6C43FF6F-B80D-4503-A0F5-CC189B6D4BE8}" srcOrd="0" destOrd="0" presId="urn:microsoft.com/office/officeart/2005/8/layout/bProcess3"/>
    <dgm:cxn modelId="{524EA565-9790-41E7-B71F-1D44EF516908}" type="presParOf" srcId="{1906C723-DF08-4F7F-8DC7-787D05D18B7F}" destId="{619BF45B-3000-482D-8C37-492052AC9C15}" srcOrd="2" destOrd="0" presId="urn:microsoft.com/office/officeart/2005/8/layout/bProcess3"/>
    <dgm:cxn modelId="{69C4B35E-0113-4DD5-AFC5-F99EC4425EED}" type="presParOf" srcId="{1906C723-DF08-4F7F-8DC7-787D05D18B7F}" destId="{ABCF424B-B4C2-4B6C-8A43-723DA1EF1445}" srcOrd="3" destOrd="0" presId="urn:microsoft.com/office/officeart/2005/8/layout/bProcess3"/>
    <dgm:cxn modelId="{9AFE90C1-27FE-4559-AA3C-3EA6C7856661}" type="presParOf" srcId="{ABCF424B-B4C2-4B6C-8A43-723DA1EF1445}" destId="{362837CB-3EE2-41F8-819D-62D20E2D7AB7}" srcOrd="0" destOrd="0" presId="urn:microsoft.com/office/officeart/2005/8/layout/bProcess3"/>
    <dgm:cxn modelId="{43069F16-BE8B-4341-B3C0-9CCDD7E705BB}" type="presParOf" srcId="{1906C723-DF08-4F7F-8DC7-787D05D18B7F}" destId="{D0036ED0-05C1-44F1-8C89-27C41572DCD7}" srcOrd="4" destOrd="0" presId="urn:microsoft.com/office/officeart/2005/8/layout/bProcess3"/>
    <dgm:cxn modelId="{DA290C72-F6A2-4206-BE35-8FB1E080847C}" type="presParOf" srcId="{1906C723-DF08-4F7F-8DC7-787D05D18B7F}" destId="{72417B86-72B4-40A1-9360-9191AB6EC67A}" srcOrd="5" destOrd="0" presId="urn:microsoft.com/office/officeart/2005/8/layout/bProcess3"/>
    <dgm:cxn modelId="{9C33889E-FC5C-4A07-9D2C-72946E15FD3B}" type="presParOf" srcId="{72417B86-72B4-40A1-9360-9191AB6EC67A}" destId="{24B533E4-AEF4-4F7D-B793-ACB0DBB7FC63}" srcOrd="0" destOrd="0" presId="urn:microsoft.com/office/officeart/2005/8/layout/bProcess3"/>
    <dgm:cxn modelId="{61CFF94B-1E64-4D96-8DD9-36E905C58E21}" type="presParOf" srcId="{1906C723-DF08-4F7F-8DC7-787D05D18B7F}" destId="{0ECB95D3-14F4-402A-9149-AF754BDF9FAD}" srcOrd="6" destOrd="0" presId="urn:microsoft.com/office/officeart/2005/8/layout/bProcess3"/>
    <dgm:cxn modelId="{F415385E-DDB7-4125-9CE6-9EF7E81F6FD9}" type="presParOf" srcId="{1906C723-DF08-4F7F-8DC7-787D05D18B7F}" destId="{A80C7ADE-F2ED-4D13-8716-0285DEDF1337}" srcOrd="7" destOrd="0" presId="urn:microsoft.com/office/officeart/2005/8/layout/bProcess3"/>
    <dgm:cxn modelId="{F6036FB2-A151-46F8-AB74-D2EE318FF046}" type="presParOf" srcId="{A80C7ADE-F2ED-4D13-8716-0285DEDF1337}" destId="{885370C3-BF39-402A-8EDF-E4459F706C3E}" srcOrd="0" destOrd="0" presId="urn:microsoft.com/office/officeart/2005/8/layout/bProcess3"/>
    <dgm:cxn modelId="{1728100A-C5BB-4875-B436-2ED685ED65A0}" type="presParOf" srcId="{1906C723-DF08-4F7F-8DC7-787D05D18B7F}" destId="{578653E3-3AD2-4DB5-B545-287D71B54164}" srcOrd="8" destOrd="0" presId="urn:microsoft.com/office/officeart/2005/8/layout/bProcess3"/>
    <dgm:cxn modelId="{8ACB00C5-3325-4FD0-A4A7-71154135F741}" type="presParOf" srcId="{1906C723-DF08-4F7F-8DC7-787D05D18B7F}" destId="{CED1A879-2CB9-4FE2-A641-0707F84DDBCB}" srcOrd="9" destOrd="0" presId="urn:microsoft.com/office/officeart/2005/8/layout/bProcess3"/>
    <dgm:cxn modelId="{C9BA8899-7FD1-4C7B-A060-160D544F5143}" type="presParOf" srcId="{CED1A879-2CB9-4FE2-A641-0707F84DDBCB}" destId="{F84CF72B-9248-4006-B710-D988598AA5CC}" srcOrd="0" destOrd="0" presId="urn:microsoft.com/office/officeart/2005/8/layout/bProcess3"/>
    <dgm:cxn modelId="{EE49F635-CE45-4C47-AA4F-B5BBFCD86D09}" type="presParOf" srcId="{1906C723-DF08-4F7F-8DC7-787D05D18B7F}" destId="{2756853F-37C1-4C95-B1D9-D2D27AF0505A}" srcOrd="10" destOrd="0" presId="urn:microsoft.com/office/officeart/2005/8/layout/bProcess3"/>
    <dgm:cxn modelId="{0F837969-6595-440E-8E64-66F404B941D3}" type="presParOf" srcId="{1906C723-DF08-4F7F-8DC7-787D05D18B7F}" destId="{17998AD7-F4EB-4ED7-91C4-EFF2F9B7156F}" srcOrd="11" destOrd="0" presId="urn:microsoft.com/office/officeart/2005/8/layout/bProcess3"/>
    <dgm:cxn modelId="{CDBD36E5-422D-4B71-8160-8C4AAF0F494A}" type="presParOf" srcId="{17998AD7-F4EB-4ED7-91C4-EFF2F9B7156F}" destId="{17FB05E1-765C-4D50-930A-1C4AA125CCFE}" srcOrd="0" destOrd="0" presId="urn:microsoft.com/office/officeart/2005/8/layout/bProcess3"/>
    <dgm:cxn modelId="{496BA0B9-668C-4C3F-8E55-0D6F4360D944}" type="presParOf" srcId="{1906C723-DF08-4F7F-8DC7-787D05D18B7F}" destId="{D767F751-CD6C-4D9E-BD7C-A5507FE56CA5}" srcOrd="12" destOrd="0" presId="urn:microsoft.com/office/officeart/2005/8/layout/bProcess3"/>
    <dgm:cxn modelId="{C3F14C62-7898-4419-AB94-67F1313F89A9}" type="presParOf" srcId="{1906C723-DF08-4F7F-8DC7-787D05D18B7F}" destId="{9AA48122-D05F-4092-AEC7-B1DC2E174717}" srcOrd="13" destOrd="0" presId="urn:microsoft.com/office/officeart/2005/8/layout/bProcess3"/>
    <dgm:cxn modelId="{152AC5A7-F9BC-4174-8083-A76F1D929134}" type="presParOf" srcId="{9AA48122-D05F-4092-AEC7-B1DC2E174717}" destId="{A23F5F5B-CC81-400B-BBB3-4CBCA6511061}" srcOrd="0" destOrd="0" presId="urn:microsoft.com/office/officeart/2005/8/layout/bProcess3"/>
    <dgm:cxn modelId="{B48486D5-AC1E-4FBC-A08C-75D34F77C99A}" type="presParOf" srcId="{1906C723-DF08-4F7F-8DC7-787D05D18B7F}" destId="{56E17BCD-6928-4269-8292-1E0FBF71C2E7}" srcOrd="14" destOrd="0" presId="urn:microsoft.com/office/officeart/2005/8/layout/b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01F8464-5FE9-4E1A-A238-4CCEF33EDFBD}">
      <dsp:nvSpPr>
        <dsp:cNvPr id="0" name=""/>
        <dsp:cNvSpPr/>
      </dsp:nvSpPr>
      <dsp:spPr>
        <a:xfrm>
          <a:off x="2506098" y="1285792"/>
          <a:ext cx="54567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45678" y="45720"/>
              </a:lnTo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2764531" y="1328630"/>
        <a:ext cx="28813" cy="5762"/>
      </dsp:txXfrm>
    </dsp:sp>
    <dsp:sp modelId="{FBB79D91-E3F4-4681-B3B2-98CA3971006E}">
      <dsp:nvSpPr>
        <dsp:cNvPr id="0" name=""/>
        <dsp:cNvSpPr/>
      </dsp:nvSpPr>
      <dsp:spPr>
        <a:xfrm>
          <a:off x="2339" y="579844"/>
          <a:ext cx="2505559" cy="1503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nb-NO" sz="2200" kern="1200" dirty="0"/>
            <a:t>Godkjenning utdanningsledere</a:t>
          </a:r>
        </a:p>
      </dsp:txBody>
      <dsp:txXfrm>
        <a:off x="2339" y="579844"/>
        <a:ext cx="2505559" cy="1503335"/>
      </dsp:txXfrm>
    </dsp:sp>
    <dsp:sp modelId="{ABCF424B-B4C2-4B6C-8A43-723DA1EF1445}">
      <dsp:nvSpPr>
        <dsp:cNvPr id="0" name=""/>
        <dsp:cNvSpPr/>
      </dsp:nvSpPr>
      <dsp:spPr>
        <a:xfrm>
          <a:off x="5587937" y="1285792"/>
          <a:ext cx="54567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45678" y="45720"/>
              </a:lnTo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5846370" y="1328630"/>
        <a:ext cx="28813" cy="5762"/>
      </dsp:txXfrm>
    </dsp:sp>
    <dsp:sp modelId="{619BF45B-3000-482D-8C37-492052AC9C15}">
      <dsp:nvSpPr>
        <dsp:cNvPr id="0" name=""/>
        <dsp:cNvSpPr/>
      </dsp:nvSpPr>
      <dsp:spPr>
        <a:xfrm>
          <a:off x="3084177" y="579844"/>
          <a:ext cx="2505559" cy="1503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200" kern="1200" dirty="0"/>
            <a:t>Innspill til tematikk fra </a:t>
          </a:r>
          <a:r>
            <a:rPr lang="nb-NO" sz="2200" kern="1200" dirty="0" err="1"/>
            <a:t>emneansvarlige</a:t>
          </a:r>
          <a:endParaRPr lang="nb-NO" sz="2200" kern="1200" dirty="0"/>
        </a:p>
      </dsp:txBody>
      <dsp:txXfrm>
        <a:off x="3084177" y="579844"/>
        <a:ext cx="2505559" cy="1503335"/>
      </dsp:txXfrm>
    </dsp:sp>
    <dsp:sp modelId="{72417B86-72B4-40A1-9360-9191AB6EC67A}">
      <dsp:nvSpPr>
        <dsp:cNvPr id="0" name=""/>
        <dsp:cNvSpPr/>
      </dsp:nvSpPr>
      <dsp:spPr>
        <a:xfrm>
          <a:off x="8669776" y="1285792"/>
          <a:ext cx="54567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45678" y="45720"/>
              </a:lnTo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8928208" y="1328630"/>
        <a:ext cx="28813" cy="5762"/>
      </dsp:txXfrm>
    </dsp:sp>
    <dsp:sp modelId="{D0036ED0-05C1-44F1-8C89-27C41572DCD7}">
      <dsp:nvSpPr>
        <dsp:cNvPr id="0" name=""/>
        <dsp:cNvSpPr/>
      </dsp:nvSpPr>
      <dsp:spPr>
        <a:xfrm>
          <a:off x="6166016" y="579844"/>
          <a:ext cx="2505559" cy="1503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200" kern="1200" dirty="0"/>
            <a:t>Utforme spørsmålsbatteri</a:t>
          </a:r>
        </a:p>
      </dsp:txBody>
      <dsp:txXfrm>
        <a:off x="6166016" y="579844"/>
        <a:ext cx="2505559" cy="1503335"/>
      </dsp:txXfrm>
    </dsp:sp>
    <dsp:sp modelId="{A80C7ADE-F2ED-4D13-8716-0285DEDF1337}">
      <dsp:nvSpPr>
        <dsp:cNvPr id="0" name=""/>
        <dsp:cNvSpPr/>
      </dsp:nvSpPr>
      <dsp:spPr>
        <a:xfrm>
          <a:off x="1255119" y="2081380"/>
          <a:ext cx="9245515" cy="545678"/>
        </a:xfrm>
        <a:custGeom>
          <a:avLst/>
          <a:gdLst/>
          <a:ahLst/>
          <a:cxnLst/>
          <a:rect l="0" t="0" r="0" b="0"/>
          <a:pathLst>
            <a:path>
              <a:moveTo>
                <a:pt x="9245515" y="0"/>
              </a:moveTo>
              <a:lnTo>
                <a:pt x="9245515" y="289939"/>
              </a:lnTo>
              <a:lnTo>
                <a:pt x="0" y="289939"/>
              </a:lnTo>
              <a:lnTo>
                <a:pt x="0" y="545678"/>
              </a:lnTo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5646290" y="2351338"/>
        <a:ext cx="463172" cy="5762"/>
      </dsp:txXfrm>
    </dsp:sp>
    <dsp:sp modelId="{0ECB95D3-14F4-402A-9149-AF754BDF9FAD}">
      <dsp:nvSpPr>
        <dsp:cNvPr id="0" name=""/>
        <dsp:cNvSpPr/>
      </dsp:nvSpPr>
      <dsp:spPr>
        <a:xfrm>
          <a:off x="9247855" y="579844"/>
          <a:ext cx="2505559" cy="1503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200" kern="1200" dirty="0"/>
            <a:t>Kvalitetssikre og få tilbakemelding på batteri fra </a:t>
          </a:r>
          <a:r>
            <a:rPr lang="nb-NO" sz="2200" kern="1200" dirty="0" err="1"/>
            <a:t>emneansvarlige</a:t>
          </a:r>
          <a:r>
            <a:rPr lang="nb-NO" sz="2200" kern="1200" dirty="0"/>
            <a:t>.</a:t>
          </a:r>
        </a:p>
      </dsp:txBody>
      <dsp:txXfrm>
        <a:off x="9247855" y="579844"/>
        <a:ext cx="2505559" cy="1503335"/>
      </dsp:txXfrm>
    </dsp:sp>
    <dsp:sp modelId="{CED1A879-2CB9-4FE2-A641-0707F84DDBCB}">
      <dsp:nvSpPr>
        <dsp:cNvPr id="0" name=""/>
        <dsp:cNvSpPr/>
      </dsp:nvSpPr>
      <dsp:spPr>
        <a:xfrm>
          <a:off x="2506098" y="3365406"/>
          <a:ext cx="54567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45678" y="45720"/>
              </a:lnTo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2764531" y="3408245"/>
        <a:ext cx="28813" cy="5762"/>
      </dsp:txXfrm>
    </dsp:sp>
    <dsp:sp modelId="{578653E3-3AD2-4DB5-B545-287D71B54164}">
      <dsp:nvSpPr>
        <dsp:cNvPr id="0" name=""/>
        <dsp:cNvSpPr/>
      </dsp:nvSpPr>
      <dsp:spPr>
        <a:xfrm>
          <a:off x="2339" y="2659458"/>
          <a:ext cx="2505559" cy="1503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200" kern="1200" dirty="0"/>
            <a:t>Bekrefte deltagere i piloten</a:t>
          </a:r>
        </a:p>
      </dsp:txBody>
      <dsp:txXfrm>
        <a:off x="2339" y="2659458"/>
        <a:ext cx="2505559" cy="1503335"/>
      </dsp:txXfrm>
    </dsp:sp>
    <dsp:sp modelId="{17998AD7-F4EB-4ED7-91C4-EFF2F9B7156F}">
      <dsp:nvSpPr>
        <dsp:cNvPr id="0" name=""/>
        <dsp:cNvSpPr/>
      </dsp:nvSpPr>
      <dsp:spPr>
        <a:xfrm>
          <a:off x="5587937" y="3365406"/>
          <a:ext cx="54567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45678" y="45720"/>
              </a:lnTo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5846370" y="3408245"/>
        <a:ext cx="28813" cy="5762"/>
      </dsp:txXfrm>
    </dsp:sp>
    <dsp:sp modelId="{2756853F-37C1-4C95-B1D9-D2D27AF0505A}">
      <dsp:nvSpPr>
        <dsp:cNvPr id="0" name=""/>
        <dsp:cNvSpPr/>
      </dsp:nvSpPr>
      <dsp:spPr>
        <a:xfrm>
          <a:off x="3084177" y="2659458"/>
          <a:ext cx="2505559" cy="1503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200" kern="1200" dirty="0"/>
            <a:t>Informere studentene</a:t>
          </a:r>
        </a:p>
      </dsp:txBody>
      <dsp:txXfrm>
        <a:off x="3084177" y="2659458"/>
        <a:ext cx="2505559" cy="1503335"/>
      </dsp:txXfrm>
    </dsp:sp>
    <dsp:sp modelId="{9AA48122-D05F-4092-AEC7-B1DC2E174717}">
      <dsp:nvSpPr>
        <dsp:cNvPr id="0" name=""/>
        <dsp:cNvSpPr/>
      </dsp:nvSpPr>
      <dsp:spPr>
        <a:xfrm>
          <a:off x="8669776" y="3365406"/>
          <a:ext cx="54567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45678" y="45720"/>
              </a:lnTo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8928208" y="3408245"/>
        <a:ext cx="28813" cy="5762"/>
      </dsp:txXfrm>
    </dsp:sp>
    <dsp:sp modelId="{D767F751-CD6C-4D9E-BD7C-A5507FE56CA5}">
      <dsp:nvSpPr>
        <dsp:cNvPr id="0" name=""/>
        <dsp:cNvSpPr/>
      </dsp:nvSpPr>
      <dsp:spPr>
        <a:xfrm>
          <a:off x="6166016" y="2659458"/>
          <a:ext cx="2505559" cy="1503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200" kern="1200" dirty="0"/>
            <a:t>Gjennomføre evaluering</a:t>
          </a:r>
        </a:p>
      </dsp:txBody>
      <dsp:txXfrm>
        <a:off x="6166016" y="2659458"/>
        <a:ext cx="2505559" cy="1503335"/>
      </dsp:txXfrm>
    </dsp:sp>
    <dsp:sp modelId="{56E17BCD-6928-4269-8292-1E0FBF71C2E7}">
      <dsp:nvSpPr>
        <dsp:cNvPr id="0" name=""/>
        <dsp:cNvSpPr/>
      </dsp:nvSpPr>
      <dsp:spPr>
        <a:xfrm>
          <a:off x="9247855" y="2659458"/>
          <a:ext cx="2505559" cy="1503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200" kern="1200" dirty="0"/>
            <a:t>Presentere funn på Forum for studiespørsmål</a:t>
          </a:r>
        </a:p>
      </dsp:txBody>
      <dsp:txXfrm>
        <a:off x="9247855" y="2659458"/>
        <a:ext cx="2505559" cy="150333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bProcess3">
  <dgm:title val=""/>
  <dgm:desc val=""/>
  <dgm:catLst>
    <dgm:cat type="process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5/3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39" imgH="343" progId="TCLayout.ActiveDocument.1">
                  <p:embed/>
                </p:oleObj>
              </mc:Choice>
              <mc:Fallback>
                <p:oleObj name="think-cell Slide" r:id="rId30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6D1C207-8E6F-F856-8D0C-4F05D5BBF0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B0CB741-250C-1584-1EFC-A54689CC11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70A4445-9C2F-B852-FCB2-C080EBB71D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88D6712D-C227-04CA-E16B-98A2C89443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Førsteårsopplevelsen</a:t>
            </a:r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00F2CA8-0297-22D4-991B-54FECD14FF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 err="1"/>
              <a:t>Forslag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emneevalueringspilot</a:t>
            </a:r>
            <a:endParaRPr lang="en-US" dirty="0"/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9EB75878-E9BE-6CFD-8E63-BA93D64A7F2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Liv Tone </a:t>
            </a:r>
            <a:r>
              <a:rPr lang="en-US" dirty="0" err="1"/>
              <a:t>og</a:t>
            </a:r>
            <a:r>
              <a:rPr lang="en-US" dirty="0"/>
              <a:t> Siri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7D733F8-EFDF-EAA6-34D6-CE214B4522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9DEB339-80A6-7BC2-D758-9306A07DD1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FE0839F-7AF7-4025-2280-C28576AD39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61318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62FE60C-0920-8336-7B48-60DE0B270D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13487A5-09CE-D4C7-5BAF-78141159E4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EE7963D2-6DA0-B4A4-FE44-098A0FF55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ommentarer	utdanningslederne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1F8D0D53-7D01-B22C-99EB-D7DD282C50FC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Hvordan sikre deltagelse? Behov for infopakke og plan for gjennomfør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Sosial tilhørighe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Deltagelse i læringsaktivitet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Den tause kunnskapen – ikke bare fortelle, studentene må leve de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Inkludere informasjonskanaler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Møte med eldre studenter – seminarledere ol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Stram oppbygning – hard prioritering av </a:t>
            </a:r>
            <a:r>
              <a:rPr lang="nb-NO" dirty="0" err="1"/>
              <a:t>spm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924388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62FE60C-0920-8336-7B48-60DE0B270D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13487A5-09CE-D4C7-5BAF-78141159E4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EE7963D2-6DA0-B4A4-FE44-098A0FF55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ommentarer	 SVSU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1F8D0D53-7D01-B22C-99EB-D7DD282C50FC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Opplevelse av programutvalgene – hvor aktiv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Foreninger i tilleg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Ikke bare verv, men også deltagelse på aktivitetene – hvorfor er dørstokkmila så lang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Kjennskap til faglærerne, del av programmet, nærhet, </a:t>
            </a:r>
            <a:r>
              <a:rPr lang="nb-NO" dirty="0" err="1"/>
              <a:t>assymmertri</a:t>
            </a:r>
            <a:r>
              <a:rPr lang="nb-NO" dirty="0"/>
              <a:t>. Er det viktig å være her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Seminarlede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err="1"/>
              <a:t>Kolloviegrupper</a:t>
            </a:r>
            <a:r>
              <a:rPr lang="nb-NO" dirty="0"/>
              <a:t>? Har du fått hjelp til å etablere en kollokviegruppe? Sammenheng mellom </a:t>
            </a:r>
            <a:r>
              <a:rPr lang="nb-NO" dirty="0" err="1"/>
              <a:t>fadderuka</a:t>
            </a:r>
            <a:r>
              <a:rPr lang="nb-NO"/>
              <a:t>. 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221511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34F5E28D-C6B7-C164-FB51-4005BDD62E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solidFill>
                  <a:srgbClr val="000000"/>
                </a:solidFill>
              </a:rPr>
              <a:t>Hvorfor fokusere på </a:t>
            </a:r>
            <a:r>
              <a:rPr lang="nb-NO" dirty="0" err="1">
                <a:solidFill>
                  <a:srgbClr val="000000"/>
                </a:solidFill>
              </a:rPr>
              <a:t>førsteårsopplevelsen</a:t>
            </a:r>
            <a:r>
              <a:rPr lang="nb-NO" dirty="0">
                <a:solidFill>
                  <a:srgbClr val="000000"/>
                </a:solidFill>
              </a:rPr>
              <a:t>?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5A369F34-E867-0E96-E698-C11834B1D0B0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solidFill>
            <a:srgbClr val="E6ECFF"/>
          </a:solidFill>
        </p:spPr>
        <p:txBody>
          <a:bodyPr/>
          <a:lstStyle/>
          <a:p>
            <a:pPr marL="342900" indent="-342900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nb-NO" dirty="0"/>
              <a:t>Første møte med studiene</a:t>
            </a:r>
          </a:p>
          <a:p>
            <a:pPr marL="342900" indent="-342900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nb-NO" dirty="0"/>
              <a:t>Som oftest stor andel programemner</a:t>
            </a:r>
          </a:p>
          <a:p>
            <a:pPr marL="342900" indent="-342900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nb-NO" dirty="0"/>
              <a:t>Det største frafallet skjer ila. første studieår</a:t>
            </a:r>
          </a:p>
          <a:p>
            <a:pPr marL="342900" indent="-342900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nb-NO" dirty="0" err="1"/>
              <a:t>Førsteårsemnene</a:t>
            </a:r>
            <a:r>
              <a:rPr lang="nb-NO" dirty="0"/>
              <a:t> gir oss også mulighet til å gi studentene en solid start</a:t>
            </a:r>
          </a:p>
          <a:p>
            <a:pPr marL="342900" indent="-342900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nb-NO" dirty="0"/>
              <a:t>Overgangen fra videregående til universitet, og hvorvidt studentene klarer å omsette kunnskapen og ferdighetene sine til en universitetskontekst trekkes fram som viktig faktor</a:t>
            </a:r>
          </a:p>
          <a:p>
            <a:pPr marL="342900" indent="-342900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nb-NO" dirty="0"/>
              <a:t>«Den tause kunnskapen»</a:t>
            </a:r>
          </a:p>
        </p:txBody>
      </p:sp>
    </p:spTree>
    <p:extLst>
      <p:ext uri="{BB962C8B-B14F-4D97-AF65-F5344CB8AC3E}">
        <p14:creationId xmlns:p14="http://schemas.microsoft.com/office/powerpoint/2010/main" val="31264767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B757394-9587-4C4E-819B-EC0F06DB50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endParaRPr lang="nb-NO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924F146-F501-AF33-9D3D-9D000EB014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en-US">
                <a:solidFill>
                  <a:srgbClr val="000000"/>
                </a:solidFill>
              </a:rPr>
              <a:t>Side </a:t>
            </a:r>
            <a:fld id="{5251F420-7306-4E7C-A79E-F31A38F7D392}" type="slidenum">
              <a:rPr lang="en-US" smtClean="0">
                <a:solidFill>
                  <a:srgbClr val="000000"/>
                </a:solidFill>
              </a:rPr>
              <a:pPr>
                <a:buClr>
                  <a:srgbClr val="000000"/>
                </a:buClr>
              </a:pPr>
              <a:t>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57E6B3A-B4FE-7734-3333-6B4057918F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solidFill>
                  <a:srgbClr val="000000"/>
                </a:solidFill>
              </a:rPr>
              <a:t>Pilot: Kinderegg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EC2BDBB-1233-935D-EFB3-E7BE63DDD3C6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solidFill>
            <a:srgbClr val="E6ECFF"/>
          </a:solidFill>
        </p:spPr>
        <p:txBody>
          <a:bodyPr/>
          <a:lstStyle/>
          <a:p>
            <a:pPr>
              <a:buClr>
                <a:srgbClr val="000000"/>
              </a:buClr>
            </a:pPr>
            <a:r>
              <a:rPr lang="nb-NO" dirty="0"/>
              <a:t>Evaluere </a:t>
            </a:r>
            <a:r>
              <a:rPr lang="nb-NO" dirty="0" err="1"/>
              <a:t>førsteårsemner</a:t>
            </a:r>
            <a:r>
              <a:rPr lang="nb-NO" dirty="0"/>
              <a:t> på tvers av enhetene ved bruk av CES.</a:t>
            </a:r>
          </a:p>
          <a:p>
            <a:pPr marL="285750" indent="-285750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nb-NO" sz="2000" dirty="0"/>
              <a:t>Én felles evaluering til alle emner, integrert </a:t>
            </a:r>
            <a:r>
              <a:rPr lang="nb-NO" sz="2000"/>
              <a:t>med Canvas</a:t>
            </a:r>
            <a:endParaRPr lang="nb-NO" sz="2000" dirty="0"/>
          </a:p>
          <a:p>
            <a:pPr marL="285750" indent="-285750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nb-NO" sz="2000" dirty="0"/>
              <a:t>Spørsmål/temaer knyttet til </a:t>
            </a:r>
            <a:r>
              <a:rPr lang="nb-NO" sz="2000" dirty="0" err="1"/>
              <a:t>førsteårsopplevelsen</a:t>
            </a:r>
            <a:endParaRPr lang="nb-NO" sz="2000" dirty="0"/>
          </a:p>
          <a:p>
            <a:pPr marL="0" indent="0">
              <a:buClr>
                <a:srgbClr val="000000"/>
              </a:buClr>
            </a:pPr>
            <a:endParaRPr lang="nb-NO" dirty="0"/>
          </a:p>
          <a:p>
            <a:pPr marL="457200" indent="-457200">
              <a:buClr>
                <a:srgbClr val="000000"/>
              </a:buClr>
              <a:buFont typeface="+mj-lt"/>
              <a:buAutoNum type="arabicPeriod"/>
            </a:pPr>
            <a:r>
              <a:rPr lang="nb-NO" dirty="0"/>
              <a:t>Få erfaring med å bruke CES til å analysere på tvers</a:t>
            </a:r>
          </a:p>
          <a:p>
            <a:pPr marL="457200" indent="-457200">
              <a:buClr>
                <a:srgbClr val="000000"/>
              </a:buClr>
              <a:buFont typeface="+mj-lt"/>
              <a:buAutoNum type="arabicPeriod"/>
            </a:pPr>
            <a:r>
              <a:rPr lang="nb-NO" dirty="0"/>
              <a:t>Innhente kunnskap om førsteårsstudentene, som kan brukes i videreutvikling av studietilbudet vårt</a:t>
            </a:r>
          </a:p>
          <a:p>
            <a:pPr marL="457200" indent="-457200">
              <a:buClr>
                <a:srgbClr val="000000"/>
              </a:buClr>
              <a:buFont typeface="+mj-lt"/>
              <a:buAutoNum type="arabicPeriod"/>
            </a:pPr>
            <a:r>
              <a:rPr lang="nb-NO" dirty="0"/>
              <a:t>EILIN blir (bedre) kjent med emner og </a:t>
            </a:r>
            <a:r>
              <a:rPr lang="nb-NO" dirty="0" err="1"/>
              <a:t>emneansvarlige</a:t>
            </a:r>
            <a:r>
              <a:rPr lang="nb-NO" dirty="0"/>
              <a:t> på enhetene, og synliggjør EILIN</a:t>
            </a:r>
          </a:p>
        </p:txBody>
      </p:sp>
    </p:spTree>
    <p:extLst>
      <p:ext uri="{BB962C8B-B14F-4D97-AF65-F5344CB8AC3E}">
        <p14:creationId xmlns:p14="http://schemas.microsoft.com/office/powerpoint/2010/main" val="24643953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65D5C5-EF0E-BA21-775F-E50B775875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08558D-F44A-3B15-DFED-0B1430F27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CFBBCBF-CF78-A3BF-8134-A30CC76118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Prosessplan – forslag 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4721159D-67CC-7FBB-2B9B-AF6DEA6085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85141011"/>
              </p:ext>
            </p:extLst>
          </p:nvPr>
        </p:nvGraphicFramePr>
        <p:xfrm>
          <a:off x="218122" y="1201622"/>
          <a:ext cx="11755754" cy="47426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0571814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6C95432-2111-54D8-5AA6-8E9C0ECBB2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77283" y="6238723"/>
            <a:ext cx="1501215" cy="25923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E954B0-6D30-D7F0-85AA-5577499AB4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C539D3F-4298-1DB8-D60A-96C8FB2C84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ktuelle emner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4C48791B-618A-01DD-4DD1-7CD59AAB2E1A}"/>
              </a:ext>
            </a:extLst>
          </p:cNvPr>
          <p:cNvGraphicFramePr>
            <a:graphicFrameLocks noGrp="1"/>
          </p:cNvGraphicFramePr>
          <p:nvPr>
            <p:ph sz="quarter" idx="28"/>
            <p:extLst>
              <p:ext uri="{D42A27DB-BD31-4B8C-83A1-F6EECF244321}">
                <p14:modId xmlns:p14="http://schemas.microsoft.com/office/powerpoint/2010/main" val="93637649"/>
              </p:ext>
            </p:extLst>
          </p:nvPr>
        </p:nvGraphicFramePr>
        <p:xfrm>
          <a:off x="378995" y="1082675"/>
          <a:ext cx="11452641" cy="4744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7561">
                  <a:extLst>
                    <a:ext uri="{9D8B030D-6E8A-4147-A177-3AD203B41FA5}">
                      <a16:colId xmlns:a16="http://schemas.microsoft.com/office/drawing/2014/main" val="3998422244"/>
                    </a:ext>
                  </a:extLst>
                </a:gridCol>
                <a:gridCol w="1866565">
                  <a:extLst>
                    <a:ext uri="{9D8B030D-6E8A-4147-A177-3AD203B41FA5}">
                      <a16:colId xmlns:a16="http://schemas.microsoft.com/office/drawing/2014/main" val="56716569"/>
                    </a:ext>
                  </a:extLst>
                </a:gridCol>
                <a:gridCol w="1799059">
                  <a:extLst>
                    <a:ext uri="{9D8B030D-6E8A-4147-A177-3AD203B41FA5}">
                      <a16:colId xmlns:a16="http://schemas.microsoft.com/office/drawing/2014/main" val="3339855305"/>
                    </a:ext>
                  </a:extLst>
                </a:gridCol>
                <a:gridCol w="5589456">
                  <a:extLst>
                    <a:ext uri="{9D8B030D-6E8A-4147-A177-3AD203B41FA5}">
                      <a16:colId xmlns:a16="http://schemas.microsoft.com/office/drawing/2014/main" val="325627907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b-NO" dirty="0"/>
                        <a:t>Em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Antall </a:t>
                      </a:r>
                    </a:p>
                    <a:p>
                      <a:r>
                        <a:rPr lang="nb-NO" dirty="0"/>
                        <a:t>meldt-møt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 err="1"/>
                        <a:t>Emneansvarlig</a:t>
                      </a:r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Statu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70559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dirty="0"/>
                        <a:t>KULKOM1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63-5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Gr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Gjennomført, mest behov for fagspesifikke spørsmå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64208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dirty="0"/>
                        <a:t>SGO1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81-7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Sæt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nb-NO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Gjennomført, trolig med</a:t>
                      </a:r>
                      <a:endParaRPr lang="nb-N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77949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dirty="0"/>
                        <a:t>SOS10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133-1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Midtbø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jennomført, trolig med</a:t>
                      </a:r>
                      <a:endParaRPr lang="nb-N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6751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dirty="0"/>
                        <a:t>UTV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50-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Kjellman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jennomført, trolig med</a:t>
                      </a:r>
                      <a:endParaRPr lang="nb-N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59675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dirty="0"/>
                        <a:t>INTER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63-5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Cla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jennomført, trolig med</a:t>
                      </a:r>
                      <a:endParaRPr lang="nb-N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939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dirty="0"/>
                        <a:t>OADM1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50-3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Hern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31.0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11922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dirty="0"/>
                        <a:t>STV1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212-18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Aller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Er m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9181245"/>
                  </a:ext>
                </a:extLst>
              </a:tr>
              <a:tr h="308001">
                <a:tc>
                  <a:txBody>
                    <a:bodyPr/>
                    <a:lstStyle/>
                    <a:p>
                      <a:pPr marL="0" marR="0" lvl="0" indent="0" algn="l" defTabSz="9144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SY1200/PSYC1210 </a:t>
                      </a:r>
                      <a:endParaRPr lang="nb-NO" sz="2000" dirty="0"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385-34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Tideman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Gjennomført, trolig m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39306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dirty="0"/>
                        <a:t>ECON12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349-29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Ogned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Gjennomført, trolig med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63324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dirty="0"/>
                        <a:t>SOSANT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248-19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Leivest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Gjennomført, trolig med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78080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dirty="0"/>
                        <a:t>SOSANT10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77-7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Niels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Gjennomført, trolig med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32667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13532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DB3F5C9-D703-5A14-4DA8-6C5AFAFC48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endParaRPr lang="nb-NO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65E5BD-4D42-2CA5-44FA-1F0217624E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en-US">
                <a:solidFill>
                  <a:srgbClr val="000000"/>
                </a:solidFill>
              </a:rPr>
              <a:t>Side </a:t>
            </a:r>
            <a:fld id="{5251F420-7306-4E7C-A79E-F31A38F7D392}" type="slidenum">
              <a:rPr lang="en-US" smtClean="0">
                <a:solidFill>
                  <a:srgbClr val="000000"/>
                </a:solidFill>
              </a:rPr>
              <a:pPr>
                <a:buClr>
                  <a:srgbClr val="000000"/>
                </a:buClr>
              </a:pPr>
              <a:t>6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1ECE35-62F8-1261-DD86-5F937F415E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solidFill>
                  <a:srgbClr val="000000"/>
                </a:solidFill>
              </a:rPr>
              <a:t>Suksesskriterier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82574A0-7152-EE9E-F823-7448992AB450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257300"/>
            <a:ext cx="11471910" cy="4642738"/>
          </a:xfrm>
          <a:solidFill>
            <a:srgbClr val="FFFFFF"/>
          </a:solidFill>
        </p:spPr>
        <p:txBody>
          <a:bodyPr/>
          <a:lstStyle/>
          <a:p>
            <a:pPr marL="457200" indent="-457200">
              <a:buClr>
                <a:srgbClr val="000000"/>
              </a:buClr>
              <a:buFont typeface="+mj-lt"/>
              <a:buAutoNum type="arabicPeriod"/>
            </a:pPr>
            <a:r>
              <a:rPr lang="nb-NO" dirty="0"/>
              <a:t>Integrere studentene i campuskulturen</a:t>
            </a:r>
          </a:p>
          <a:p>
            <a:pPr marL="457200" indent="-457200">
              <a:buClr>
                <a:srgbClr val="000000"/>
              </a:buClr>
              <a:buFont typeface="+mj-lt"/>
              <a:buAutoNum type="arabicPeriod"/>
            </a:pPr>
            <a:r>
              <a:rPr lang="nb-NO" dirty="0"/>
              <a:t>Bygge akademisk/faglig tilhørighet</a:t>
            </a:r>
          </a:p>
          <a:p>
            <a:pPr marL="457200" indent="-457200">
              <a:buClr>
                <a:srgbClr val="000000"/>
              </a:buClr>
              <a:buFont typeface="+mj-lt"/>
              <a:buAutoNum type="arabicPeriod"/>
            </a:pPr>
            <a:r>
              <a:rPr lang="nb-NO" dirty="0"/>
              <a:t>Legge til rette for interaksjon med medstudenter, faglærere og samfunnet utenfor campus (bla. arbeidsliv)</a:t>
            </a:r>
          </a:p>
          <a:p>
            <a:pPr marL="457200" indent="-457200">
              <a:buClr>
                <a:srgbClr val="000000"/>
              </a:buClr>
              <a:buFont typeface="+mj-lt"/>
              <a:buAutoNum type="arabicPeriod"/>
            </a:pPr>
            <a:r>
              <a:rPr lang="nb-NO" dirty="0"/>
              <a:t>Studentaktive læringsformer</a:t>
            </a:r>
          </a:p>
          <a:p>
            <a:pPr marL="457200" indent="-457200">
              <a:buClr>
                <a:srgbClr val="000000"/>
              </a:buClr>
              <a:buFont typeface="+mj-lt"/>
              <a:buAutoNum type="arabicPeriod"/>
            </a:pPr>
            <a:endParaRPr lang="nb-NO" dirty="0"/>
          </a:p>
          <a:p>
            <a:pPr marL="0" indent="0">
              <a:buClr>
                <a:srgbClr val="000000"/>
              </a:buClr>
            </a:pPr>
            <a:endParaRPr lang="nb-NO" sz="1800" dirty="0"/>
          </a:p>
          <a:p>
            <a:pPr marL="0" indent="0">
              <a:buClr>
                <a:srgbClr val="000000"/>
              </a:buClr>
            </a:pPr>
            <a:endParaRPr lang="nb-NO" sz="1800" dirty="0"/>
          </a:p>
          <a:p>
            <a:pPr marL="0" indent="0">
              <a:buClr>
                <a:srgbClr val="000000"/>
              </a:buClr>
            </a:pPr>
            <a:endParaRPr lang="nb-NO" sz="1800" dirty="0"/>
          </a:p>
          <a:p>
            <a:pPr marL="0" indent="0">
              <a:buClr>
                <a:srgbClr val="000000"/>
              </a:buClr>
            </a:pPr>
            <a:r>
              <a:rPr lang="nb-NO" sz="1800" dirty="0"/>
              <a:t>Kilde: </a:t>
            </a:r>
            <a:r>
              <a:rPr lang="en-US" sz="1800" b="0" i="0" dirty="0" err="1">
                <a:effectLst/>
              </a:rPr>
              <a:t>Wismath</a:t>
            </a:r>
            <a:r>
              <a:rPr lang="en-US" sz="1800" b="0" i="0" dirty="0">
                <a:effectLst/>
              </a:rPr>
              <a:t>, S., &amp; Newberry, J. (2019). Mapping assets: High impact practices and the first-year experience. </a:t>
            </a:r>
            <a:r>
              <a:rPr lang="en-US" sz="1800" b="0" i="1" dirty="0">
                <a:effectLst/>
              </a:rPr>
              <a:t>Teaching and Learning Inquiry</a:t>
            </a:r>
            <a:r>
              <a:rPr lang="en-US" sz="1800" b="0" i="0" dirty="0">
                <a:effectLst/>
              </a:rPr>
              <a:t>, </a:t>
            </a:r>
            <a:r>
              <a:rPr lang="en-US" sz="1800" b="0" i="1" dirty="0">
                <a:effectLst/>
              </a:rPr>
              <a:t>7</a:t>
            </a:r>
            <a:r>
              <a:rPr lang="en-US" sz="1800" b="0" i="0" dirty="0">
                <a:effectLst/>
              </a:rPr>
              <a:t>(1), 34–54. https://doi.org/10.20343/teachlearninqu.7.1.4</a:t>
            </a:r>
            <a:endParaRPr lang="nb-NO" sz="1800" dirty="0"/>
          </a:p>
          <a:p>
            <a:pPr marL="457200" indent="-457200">
              <a:buClr>
                <a:srgbClr val="000000"/>
              </a:buClr>
              <a:buFont typeface="+mj-lt"/>
              <a:buAutoNum type="arabicPeriod"/>
            </a:pPr>
            <a:endParaRPr lang="nb-NO" dirty="0"/>
          </a:p>
          <a:p>
            <a:pPr marL="0" indent="0">
              <a:buClr>
                <a:srgbClr val="000000"/>
              </a:buClr>
            </a:pPr>
            <a:endParaRPr lang="nb-NO" dirty="0"/>
          </a:p>
          <a:p>
            <a:pPr marL="457200" indent="-457200">
              <a:buClr>
                <a:srgbClr val="000000"/>
              </a:buClr>
              <a:buFont typeface="+mj-lt"/>
              <a:buAutoNum type="arabicPeriod"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144154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986F40B-634F-E7E4-F771-A4F09B0F75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9F3F5E8-3FE1-B516-79F9-3934DC9073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1785B7A-7943-9243-097E-5AD8AFE80D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igh </a:t>
            </a:r>
            <a:r>
              <a:rPr lang="nb-NO" dirty="0" err="1"/>
              <a:t>impact</a:t>
            </a:r>
            <a:r>
              <a:rPr lang="nb-NO" dirty="0"/>
              <a:t> </a:t>
            </a:r>
            <a:r>
              <a:rPr lang="nb-NO" dirty="0" err="1"/>
              <a:t>practises</a:t>
            </a:r>
            <a:r>
              <a:rPr lang="nb-NO" dirty="0"/>
              <a:t>: </a:t>
            </a:r>
            <a:br>
              <a:rPr lang="nb-NO" dirty="0"/>
            </a:br>
            <a:endParaRPr lang="nb-N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613834C-A572-D8E7-6284-A57214449B31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5083458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First </a:t>
            </a:r>
            <a:r>
              <a:rPr lang="nb-NO" dirty="0" err="1"/>
              <a:t>year</a:t>
            </a:r>
            <a:r>
              <a:rPr lang="nb-NO" dirty="0"/>
              <a:t> seminars and </a:t>
            </a:r>
            <a:r>
              <a:rPr lang="nb-NO" dirty="0" err="1"/>
              <a:t>experiences</a:t>
            </a:r>
            <a:endParaRPr lang="nb-NO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err="1"/>
              <a:t>Common</a:t>
            </a:r>
            <a:r>
              <a:rPr lang="nb-NO" dirty="0"/>
              <a:t> </a:t>
            </a:r>
            <a:r>
              <a:rPr lang="nb-NO" dirty="0" err="1"/>
              <a:t>intellectual</a:t>
            </a:r>
            <a:r>
              <a:rPr lang="nb-NO" dirty="0"/>
              <a:t> </a:t>
            </a:r>
            <a:r>
              <a:rPr lang="nb-NO" dirty="0" err="1"/>
              <a:t>experiences</a:t>
            </a:r>
            <a:endParaRPr lang="nb-NO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err="1"/>
              <a:t>Learing</a:t>
            </a:r>
            <a:r>
              <a:rPr lang="nb-NO" dirty="0"/>
              <a:t> </a:t>
            </a:r>
            <a:r>
              <a:rPr lang="nb-NO" dirty="0" err="1"/>
              <a:t>communities</a:t>
            </a:r>
            <a:endParaRPr lang="nb-NO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err="1"/>
              <a:t>Writing</a:t>
            </a:r>
            <a:r>
              <a:rPr lang="nb-NO" dirty="0"/>
              <a:t>-Intensive </a:t>
            </a:r>
            <a:r>
              <a:rPr lang="nb-NO" dirty="0" err="1"/>
              <a:t>courses</a:t>
            </a:r>
            <a:endParaRPr lang="nb-NO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err="1"/>
              <a:t>Collaborative</a:t>
            </a:r>
            <a:r>
              <a:rPr lang="nb-NO" dirty="0"/>
              <a:t> </a:t>
            </a:r>
            <a:r>
              <a:rPr lang="nb-NO" dirty="0" err="1"/>
              <a:t>assignments</a:t>
            </a:r>
            <a:r>
              <a:rPr lang="nb-NO" dirty="0"/>
              <a:t> and </a:t>
            </a:r>
            <a:r>
              <a:rPr lang="nb-NO" dirty="0" err="1"/>
              <a:t>projects</a:t>
            </a:r>
            <a:endParaRPr lang="nb-NO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err="1"/>
              <a:t>Undergraduate</a:t>
            </a:r>
            <a:r>
              <a:rPr lang="nb-NO" dirty="0"/>
              <a:t> </a:t>
            </a:r>
            <a:r>
              <a:rPr lang="nb-NO" dirty="0" err="1"/>
              <a:t>research</a:t>
            </a:r>
            <a:endParaRPr lang="nb-NO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Case/</a:t>
            </a:r>
            <a:r>
              <a:rPr lang="nb-NO" dirty="0" err="1"/>
              <a:t>internship</a:t>
            </a:r>
            <a:endParaRPr lang="nb-NO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err="1"/>
              <a:t>Capstone</a:t>
            </a:r>
            <a:r>
              <a:rPr lang="nb-NO" dirty="0"/>
              <a:t> </a:t>
            </a:r>
            <a:r>
              <a:rPr lang="nb-NO" dirty="0" err="1"/>
              <a:t>courses</a:t>
            </a:r>
            <a:endParaRPr lang="nb-NO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dirty="0"/>
          </a:p>
          <a:p>
            <a:pPr marL="0" indent="0"/>
            <a:r>
              <a:rPr lang="nb-NO" sz="1400" dirty="0"/>
              <a:t>Kilde: </a:t>
            </a:r>
            <a:r>
              <a:rPr lang="en-US" sz="1400" b="0" i="0" dirty="0" err="1">
                <a:effectLst/>
              </a:rPr>
              <a:t>Wismath</a:t>
            </a:r>
            <a:r>
              <a:rPr lang="en-US" sz="1400" b="0" i="0" dirty="0">
                <a:effectLst/>
              </a:rPr>
              <a:t>, S., &amp; Newberry, J. (2019). Mapping assets: High impact practices and the first-year experience. </a:t>
            </a:r>
            <a:r>
              <a:rPr lang="en-US" sz="1400" b="0" i="1" dirty="0">
                <a:effectLst/>
              </a:rPr>
              <a:t>Teaching and Learning Inquiry</a:t>
            </a:r>
            <a:r>
              <a:rPr lang="en-US" sz="1400" b="0" i="0" dirty="0">
                <a:effectLst/>
              </a:rPr>
              <a:t>, </a:t>
            </a:r>
            <a:r>
              <a:rPr lang="en-US" sz="1400" b="0" i="1" dirty="0">
                <a:effectLst/>
              </a:rPr>
              <a:t>7</a:t>
            </a:r>
            <a:r>
              <a:rPr lang="en-US" sz="1400" b="0" i="0" dirty="0">
                <a:effectLst/>
              </a:rPr>
              <a:t>(1), 34–54. https://doi.org/10.20343/teachlearninqu.7.1.4</a:t>
            </a:r>
            <a:endParaRPr lang="nb-NO" sz="1400" dirty="0"/>
          </a:p>
          <a:p>
            <a:pPr marL="0" indent="0"/>
            <a:endParaRPr lang="nb-NO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dirty="0"/>
          </a:p>
          <a:p>
            <a:endParaRPr lang="nb-NO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212DE3B-73FA-5E82-1690-C73A0FC0D2C4}"/>
              </a:ext>
            </a:extLst>
          </p:cNvPr>
          <p:cNvSpPr/>
          <p:nvPr/>
        </p:nvSpPr>
        <p:spPr>
          <a:xfrm>
            <a:off x="7399422" y="1245268"/>
            <a:ext cx="4229100" cy="36154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800" dirty="0" err="1"/>
              <a:t>Kuh</a:t>
            </a:r>
            <a:r>
              <a:rPr lang="nb-NO" sz="2800" dirty="0"/>
              <a:t> (2008): </a:t>
            </a:r>
          </a:p>
          <a:p>
            <a:pPr algn="ctr"/>
            <a:r>
              <a:rPr lang="nb-NO" sz="2800" dirty="0"/>
              <a:t>Studentene bør delta i minst 2 «High </a:t>
            </a:r>
            <a:r>
              <a:rPr lang="nb-NO" sz="2800" dirty="0" err="1"/>
              <a:t>Impact</a:t>
            </a:r>
            <a:r>
              <a:rPr lang="nb-NO" sz="2800" dirty="0"/>
              <a:t> </a:t>
            </a:r>
            <a:r>
              <a:rPr lang="nb-NO" sz="2800" dirty="0" err="1"/>
              <a:t>practices</a:t>
            </a:r>
            <a:r>
              <a:rPr lang="nb-NO" sz="2800" dirty="0"/>
              <a:t>» i løpet av BA-programmet</a:t>
            </a:r>
          </a:p>
        </p:txBody>
      </p:sp>
    </p:spTree>
    <p:extLst>
      <p:ext uri="{BB962C8B-B14F-4D97-AF65-F5344CB8AC3E}">
        <p14:creationId xmlns:p14="http://schemas.microsoft.com/office/powerpoint/2010/main" val="31458803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7D793A9-F4E1-B184-769B-CD34D2F6CA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endParaRPr lang="nb-NO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CAFB31-4AE5-0D00-82D4-CDFEA21F9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en-US">
                <a:solidFill>
                  <a:srgbClr val="000000"/>
                </a:solidFill>
              </a:rPr>
              <a:t>Side </a:t>
            </a:r>
            <a:fld id="{5251F420-7306-4E7C-A79E-F31A38F7D392}" type="slidenum">
              <a:rPr lang="en-US" smtClean="0">
                <a:solidFill>
                  <a:srgbClr val="000000"/>
                </a:solidFill>
              </a:rPr>
              <a:pPr>
                <a:buClr>
                  <a:srgbClr val="000000"/>
                </a:buClr>
              </a:pPr>
              <a:t>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D72D01E-4B62-BCC4-44D5-A59BAE9F9E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solidFill>
                  <a:srgbClr val="000000"/>
                </a:solidFill>
              </a:rPr>
              <a:t>Temaer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AE134C8-5899-93A7-B869-206AAB1B11E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nb-NO" b="1" dirty="0">
                <a:solidFill>
                  <a:srgbClr val="000000"/>
                </a:solidFill>
              </a:rPr>
              <a:t>Kvalitetssystemet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1562B089-B132-7222-4926-9F959036D7EB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1576211"/>
            <a:ext cx="3541314" cy="4055605"/>
          </a:xfrm>
          <a:solidFill>
            <a:srgbClr val="E6ECFF"/>
          </a:solidFill>
        </p:spPr>
        <p:txBody>
          <a:bodyPr/>
          <a:lstStyle/>
          <a:p>
            <a:pPr marL="457200" indent="-457200">
              <a:buClr>
                <a:srgbClr val="000000"/>
              </a:buClr>
              <a:buFont typeface="+mj-lt"/>
              <a:buAutoNum type="arabicPeriod"/>
            </a:pPr>
            <a:r>
              <a:rPr lang="nb-NO" dirty="0">
                <a:solidFill>
                  <a:srgbClr val="000000"/>
                </a:solidFill>
              </a:rPr>
              <a:t>Læringsutbytte</a:t>
            </a:r>
          </a:p>
          <a:p>
            <a:pPr marL="457200" indent="-457200">
              <a:buClr>
                <a:srgbClr val="000000"/>
              </a:buClr>
              <a:buFont typeface="+mj-lt"/>
              <a:buAutoNum type="arabicPeriod"/>
            </a:pPr>
            <a:r>
              <a:rPr lang="nb-NO" dirty="0">
                <a:solidFill>
                  <a:srgbClr val="000000"/>
                </a:solidFill>
              </a:rPr>
              <a:t>Undervisningsformer</a:t>
            </a:r>
          </a:p>
          <a:p>
            <a:pPr marL="457200" indent="-457200">
              <a:buClr>
                <a:srgbClr val="000000"/>
              </a:buClr>
              <a:buFont typeface="+mj-lt"/>
              <a:buAutoNum type="arabicPeriod"/>
            </a:pPr>
            <a:r>
              <a:rPr lang="nb-NO" dirty="0">
                <a:solidFill>
                  <a:srgbClr val="000000"/>
                </a:solidFill>
              </a:rPr>
              <a:t>Organisering</a:t>
            </a:r>
          </a:p>
          <a:p>
            <a:pPr marL="457200" indent="-457200">
              <a:buClr>
                <a:srgbClr val="000000"/>
              </a:buClr>
              <a:buFont typeface="+mj-lt"/>
              <a:buAutoNum type="arabicPeriod"/>
            </a:pPr>
            <a:r>
              <a:rPr lang="nb-NO" dirty="0">
                <a:solidFill>
                  <a:srgbClr val="000000"/>
                </a:solidFill>
              </a:rPr>
              <a:t>Læringsmiljø</a:t>
            </a:r>
          </a:p>
          <a:p>
            <a:pPr marL="457200" indent="-457200">
              <a:buClr>
                <a:srgbClr val="000000"/>
              </a:buClr>
              <a:buFont typeface="+mj-lt"/>
              <a:buAutoNum type="arabicPeriod"/>
            </a:pPr>
            <a:r>
              <a:rPr lang="nb-NO" dirty="0">
                <a:solidFill>
                  <a:srgbClr val="000000"/>
                </a:solidFill>
              </a:rPr>
              <a:t>Arbeidsinnsats</a:t>
            </a:r>
          </a:p>
          <a:p>
            <a:pPr marL="457200" indent="-457200">
              <a:buClr>
                <a:srgbClr val="000000"/>
              </a:buClr>
              <a:buFont typeface="+mj-lt"/>
              <a:buAutoNum type="arabicPeriod"/>
            </a:pPr>
            <a:r>
              <a:rPr lang="nb-NO" dirty="0">
                <a:solidFill>
                  <a:srgbClr val="000000"/>
                </a:solidFill>
              </a:rPr>
              <a:t>Aktivisering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B7639B3-E172-8B83-59E4-5F5C49F04FB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nb-NO" b="1" dirty="0">
                <a:solidFill>
                  <a:srgbClr val="000000"/>
                </a:solidFill>
              </a:rPr>
              <a:t>Suksessfaktorer fra litteraturen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48C548E0-543C-0727-C8B3-3B4F23817313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1576211"/>
            <a:ext cx="3541314" cy="4055605"/>
          </a:xfrm>
          <a:solidFill>
            <a:srgbClr val="E6ECFF"/>
          </a:solidFill>
        </p:spPr>
        <p:txBody>
          <a:bodyPr/>
          <a:lstStyle/>
          <a:p>
            <a:pPr marL="457200" indent="-457200">
              <a:buClr>
                <a:srgbClr val="000000"/>
              </a:buClr>
              <a:buFont typeface="+mj-lt"/>
              <a:buAutoNum type="arabicPeriod"/>
            </a:pPr>
            <a:r>
              <a:rPr lang="nb-NO" dirty="0">
                <a:solidFill>
                  <a:srgbClr val="000000"/>
                </a:solidFill>
              </a:rPr>
              <a:t>Campuskultur</a:t>
            </a:r>
          </a:p>
          <a:p>
            <a:pPr marL="457200" indent="-457200">
              <a:buClr>
                <a:srgbClr val="000000"/>
              </a:buClr>
              <a:buFont typeface="+mj-lt"/>
              <a:buAutoNum type="arabicPeriod"/>
            </a:pPr>
            <a:r>
              <a:rPr lang="nb-NO" dirty="0">
                <a:solidFill>
                  <a:srgbClr val="000000"/>
                </a:solidFill>
              </a:rPr>
              <a:t>Akademisk tilhørighet</a:t>
            </a:r>
          </a:p>
          <a:p>
            <a:pPr marL="457200" indent="-457200">
              <a:buClr>
                <a:srgbClr val="000000"/>
              </a:buClr>
              <a:buFont typeface="+mj-lt"/>
              <a:buAutoNum type="arabicPeriod"/>
            </a:pPr>
            <a:r>
              <a:rPr lang="nb-NO" dirty="0">
                <a:solidFill>
                  <a:srgbClr val="000000"/>
                </a:solidFill>
              </a:rPr>
              <a:t>Interaksjon med medstudenter og faglærere (og verden utenfor)</a:t>
            </a:r>
          </a:p>
          <a:p>
            <a:pPr marL="457200" indent="-457200">
              <a:buClr>
                <a:srgbClr val="000000"/>
              </a:buClr>
              <a:buFont typeface="+mj-lt"/>
              <a:buAutoNum type="arabicPeriod"/>
            </a:pPr>
            <a:r>
              <a:rPr lang="nb-NO" dirty="0">
                <a:solidFill>
                  <a:srgbClr val="000000"/>
                </a:solidFill>
              </a:rPr>
              <a:t>Studentaktive læringsformer</a:t>
            </a:r>
          </a:p>
          <a:p>
            <a:pPr marL="457200" indent="-457200">
              <a:buClr>
                <a:srgbClr val="000000"/>
              </a:buClr>
              <a:buFont typeface="+mj-lt"/>
              <a:buAutoNum type="arabicPeriod"/>
            </a:pPr>
            <a:endParaRPr lang="nb-NO" dirty="0">
              <a:solidFill>
                <a:srgbClr val="000000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E94C10-3BDD-F709-133D-17056D185A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nb-NO" b="1" dirty="0">
                <a:solidFill>
                  <a:srgbClr val="000000"/>
                </a:solidFill>
              </a:rPr>
              <a:t>Fra samtalene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CA0FAB26-CDC4-65F4-B38C-3DC6D9C7B5CB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1576211"/>
            <a:ext cx="3541314" cy="4013809"/>
          </a:xfrm>
          <a:solidFill>
            <a:srgbClr val="E6ECFF"/>
          </a:solidFill>
        </p:spPr>
        <p:txBody>
          <a:bodyPr/>
          <a:lstStyle/>
          <a:p>
            <a:pPr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Forkunnskaper</a:t>
            </a:r>
          </a:p>
          <a:p>
            <a:pPr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Forventinger</a:t>
            </a:r>
          </a:p>
          <a:p>
            <a:pPr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Motivasjon</a:t>
            </a:r>
          </a:p>
          <a:p>
            <a:pPr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Sammenheng</a:t>
            </a:r>
          </a:p>
          <a:p>
            <a:pPr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Fagligsosialt fellesskap</a:t>
            </a:r>
          </a:p>
          <a:p>
            <a:pPr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Opplevd relevans</a:t>
            </a:r>
          </a:p>
          <a:p>
            <a:pPr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Fagidentitet</a:t>
            </a:r>
          </a:p>
        </p:txBody>
      </p:sp>
    </p:spTree>
    <p:extLst>
      <p:ext uri="{BB962C8B-B14F-4D97-AF65-F5344CB8AC3E}">
        <p14:creationId xmlns:p14="http://schemas.microsoft.com/office/powerpoint/2010/main" val="3592272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6A8A3-B3D6-7559-A252-C4C7DB9F13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endParaRPr lang="nb-NO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990E20-ACFA-B070-A7A5-B4175D2CFB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en-US">
                <a:solidFill>
                  <a:srgbClr val="000000"/>
                </a:solidFill>
              </a:rPr>
              <a:t>Side </a:t>
            </a:r>
            <a:fld id="{5251F420-7306-4E7C-A79E-F31A38F7D392}" type="slidenum">
              <a:rPr lang="en-US" smtClean="0">
                <a:solidFill>
                  <a:srgbClr val="000000"/>
                </a:solidFill>
              </a:rPr>
              <a:pPr>
                <a:buClr>
                  <a:srgbClr val="000000"/>
                </a:buClr>
              </a:pPr>
              <a:t>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EF247609-4EBE-6F8E-BEA5-D656ABC51A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solidFill>
                  <a:srgbClr val="000000"/>
                </a:solidFill>
              </a:rPr>
              <a:t>Mulig struktur for undersøkelsen (</a:t>
            </a:r>
            <a:r>
              <a:rPr lang="nb-NO" dirty="0" err="1">
                <a:solidFill>
                  <a:srgbClr val="000000"/>
                </a:solidFill>
              </a:rPr>
              <a:t>work</a:t>
            </a:r>
            <a:r>
              <a:rPr lang="nb-NO" dirty="0">
                <a:solidFill>
                  <a:srgbClr val="000000"/>
                </a:solidFill>
              </a:rPr>
              <a:t> in progress)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AA8C669-217E-5486-5474-2330538F8FB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nb-NO" b="1" dirty="0">
                <a:solidFill>
                  <a:srgbClr val="000000"/>
                </a:solidFill>
              </a:rPr>
              <a:t>Studentens forutsetninger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40917B25-0FDA-44CD-C336-A671B919A4EC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1483567"/>
            <a:ext cx="3541314" cy="4148249"/>
          </a:xfrm>
          <a:solidFill>
            <a:srgbClr val="FFFEA7"/>
          </a:solidFill>
        </p:spPr>
        <p:txBody>
          <a:bodyPr/>
          <a:lstStyle/>
          <a:p>
            <a:pPr marL="505462" indent="-342900"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Bakgrunn</a:t>
            </a:r>
          </a:p>
          <a:p>
            <a:pPr marL="505462" indent="-342900"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Forventinger</a:t>
            </a:r>
          </a:p>
          <a:p>
            <a:pPr marL="505462" indent="-342900"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Motivasjon</a:t>
            </a:r>
          </a:p>
          <a:p>
            <a:pPr marL="162562" indent="0">
              <a:buClr>
                <a:srgbClr val="000000"/>
              </a:buClr>
              <a:buNone/>
            </a:pPr>
            <a:endParaRPr lang="nb-NO" dirty="0">
              <a:solidFill>
                <a:srgbClr val="000000"/>
              </a:solidFill>
            </a:endParaRPr>
          </a:p>
          <a:p>
            <a:pPr marL="903296" lvl="1" indent="-342900">
              <a:buClr>
                <a:srgbClr val="000000"/>
              </a:buClr>
            </a:pPr>
            <a:endParaRPr lang="nb-NO" dirty="0">
              <a:solidFill>
                <a:srgbClr val="000000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66DB4EB-45F1-A4BD-4EF3-A9E7E15C2AB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nb-NO" b="1" dirty="0">
                <a:solidFill>
                  <a:srgbClr val="000000"/>
                </a:solidFill>
              </a:rPr>
              <a:t>Møtet med universitetet</a:t>
            </a:r>
          </a:p>
          <a:p>
            <a:pPr>
              <a:buClr>
                <a:srgbClr val="000000"/>
              </a:buClr>
            </a:pPr>
            <a:endParaRPr lang="nb-NO" b="1" dirty="0">
              <a:solidFill>
                <a:srgbClr val="000000"/>
              </a:solidFill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76856CAB-FC01-D41F-4A8E-DF6116ED2E98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1576211"/>
            <a:ext cx="3541314" cy="4055605"/>
          </a:xfrm>
          <a:solidFill>
            <a:srgbClr val="FFFEA7"/>
          </a:solidFill>
        </p:spPr>
        <p:txBody>
          <a:bodyPr/>
          <a:lstStyle/>
          <a:p>
            <a:pPr marL="505462" indent="-342900"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Bruk av campusfasiliteter</a:t>
            </a:r>
          </a:p>
          <a:p>
            <a:pPr marL="505462" indent="-342900"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Tid brukt på campus</a:t>
            </a:r>
          </a:p>
          <a:p>
            <a:pPr marL="505462" indent="-342900"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Deltagelse i fadderuke</a:t>
            </a:r>
          </a:p>
          <a:p>
            <a:pPr marL="505462" indent="-342900"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Deltagelse i foreninger ol.</a:t>
            </a:r>
          </a:p>
          <a:p>
            <a:pPr>
              <a:buClr>
                <a:srgbClr val="000000"/>
              </a:buClr>
            </a:pPr>
            <a:endParaRPr lang="nb-NO" dirty="0">
              <a:solidFill>
                <a:srgbClr val="000000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7B9D3B-F4A0-5B34-8BEE-92D4114BCF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nb-NO" b="1" dirty="0">
                <a:solidFill>
                  <a:srgbClr val="000000"/>
                </a:solidFill>
              </a:rPr>
              <a:t>Møtet med faget og fagmiljøet</a:t>
            </a:r>
          </a:p>
          <a:p>
            <a:pPr>
              <a:buClr>
                <a:srgbClr val="000000"/>
              </a:buClr>
            </a:pPr>
            <a:endParaRPr lang="nb-NO" b="1" dirty="0">
              <a:solidFill>
                <a:srgbClr val="000000"/>
              </a:solidFill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5CC20C6F-620C-117C-1909-FCF0E14D7171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1576211"/>
            <a:ext cx="3541314" cy="4055605"/>
          </a:xfrm>
          <a:solidFill>
            <a:srgbClr val="FFFEA7"/>
          </a:solidFill>
        </p:spPr>
        <p:txBody>
          <a:bodyPr/>
          <a:lstStyle/>
          <a:p>
            <a:pPr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Læringsutbytte</a:t>
            </a:r>
          </a:p>
          <a:p>
            <a:pPr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Sammenheng</a:t>
            </a:r>
          </a:p>
          <a:p>
            <a:pPr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Læringsmiljø</a:t>
            </a:r>
          </a:p>
          <a:p>
            <a:pPr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Tilbakemelding</a:t>
            </a:r>
          </a:p>
          <a:p>
            <a:pPr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Faglig identitet</a:t>
            </a:r>
          </a:p>
          <a:p>
            <a:pPr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Studentaktivitet</a:t>
            </a:r>
          </a:p>
          <a:p>
            <a:pPr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Arbeidsinnsats</a:t>
            </a:r>
          </a:p>
          <a:p>
            <a:pPr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Kommunikasjonskanaler </a:t>
            </a:r>
          </a:p>
          <a:p>
            <a:pPr>
              <a:buClr>
                <a:srgbClr val="000000"/>
              </a:buClr>
            </a:pPr>
            <a:endParaRPr lang="nb-NO" dirty="0">
              <a:solidFill>
                <a:srgbClr val="000000"/>
              </a:solidFill>
            </a:endParaRPr>
          </a:p>
          <a:p>
            <a:pPr>
              <a:buClr>
                <a:srgbClr val="000000"/>
              </a:buClr>
            </a:pPr>
            <a:endParaRPr lang="nb-NO" dirty="0">
              <a:solidFill>
                <a:srgbClr val="000000"/>
              </a:solidFill>
            </a:endParaRPr>
          </a:p>
          <a:p>
            <a:pPr>
              <a:buClr>
                <a:srgbClr val="000000"/>
              </a:buClr>
            </a:pPr>
            <a:endParaRPr lang="nb-NO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37353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Props1.xml><?xml version="1.0" encoding="utf-8"?>
<ds:datastoreItem xmlns:ds="http://schemas.openxmlformats.org/officeDocument/2006/customXml" ds:itemID="{3D514616-B19B-45FB-8999-E0E2ED54B5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1821DCD-2816-4F67-91A6-4B2280A84407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89B9CF10-6C6A-444C-B05E-E78C1785A52C}">
  <ds:schemaRefs>
    <ds:schemaRef ds:uri="http://schemas.microsoft.com/office/2006/metadata/properties"/>
    <ds:schemaRef ds:uri="http://www.w3.org/XML/1998/namespace"/>
    <ds:schemaRef ds:uri="http://schemas.microsoft.com/office/2006/documentManagement/types"/>
    <ds:schemaRef ds:uri="45a9c032-1c21-4297-bc4a-1b0e359a6c15"/>
    <ds:schemaRef ds:uri="http://schemas.microsoft.com/office/infopath/2007/PartnerControls"/>
    <ds:schemaRef ds:uri="http://purl.org/dc/terms/"/>
    <ds:schemaRef ds:uri="e5e35b8c-bb2a-40e7-acd7-beed1d1f14b8"/>
    <ds:schemaRef ds:uri="http://schemas.openxmlformats.org/package/2006/metadata/core-properties"/>
    <ds:schemaRef ds:uri="http://purl.org/dc/dcmitype/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18062</TotalTime>
  <Words>642</Words>
  <Application>Microsoft Office PowerPoint</Application>
  <PresentationFormat>Widescreen</PresentationFormat>
  <Paragraphs>169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Arial, sans-serif</vt:lpstr>
      <vt:lpstr>Calibri</vt:lpstr>
      <vt:lpstr>Wingdings</vt:lpstr>
      <vt:lpstr>Office Theme</vt:lpstr>
      <vt:lpstr>think-cell Slide</vt:lpstr>
      <vt:lpstr>Førsteårsopplevelsen</vt:lpstr>
      <vt:lpstr>Hvorfor fokusere på førsteårsopplevelsen?</vt:lpstr>
      <vt:lpstr>Pilot: Kinderegg</vt:lpstr>
      <vt:lpstr>Prosessplan – forslag </vt:lpstr>
      <vt:lpstr>Aktuelle emner</vt:lpstr>
      <vt:lpstr>Suksesskriterier</vt:lpstr>
      <vt:lpstr>High impact practises:  </vt:lpstr>
      <vt:lpstr>Temaer</vt:lpstr>
      <vt:lpstr>Mulig struktur for undersøkelsen (work in progress)</vt:lpstr>
      <vt:lpstr>Kommentarer utdanningslederne</vt:lpstr>
      <vt:lpstr>Kommentarer  SVS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ørsteårsopplevelsen</dc:title>
  <dc:creator>Siri Marie Aamodt</dc:creator>
  <cp:lastModifiedBy>Siri Marie Aamodt</cp:lastModifiedBy>
  <cp:revision>1</cp:revision>
  <dcterms:created xsi:type="dcterms:W3CDTF">2023-04-27T08:35:11Z</dcterms:created>
  <dcterms:modified xsi:type="dcterms:W3CDTF">2023-05-30T09:09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